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"/>
  </p:notesMasterIdLst>
  <p:sldIdLst>
    <p:sldId id="2145706816" r:id="rId2"/>
    <p:sldId id="2145706815" r:id="rId3"/>
  </p:sldIdLst>
  <p:sldSz cx="12192000" cy="6858000"/>
  <p:notesSz cx="6858000" cy="9144000"/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4660"/>
  </p:normalViewPr>
  <p:slideViewPr>
    <p:cSldViewPr snapToGrid="0">
      <p:cViewPr varScale="1">
        <p:scale>
          <a:sx n="96" d="100"/>
          <a:sy n="96" d="100"/>
        </p:scale>
        <p:origin x="86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21C7A22-7E47-41CF-BF23-5465EFA61460}" type="doc">
      <dgm:prSet loTypeId="urn:microsoft.com/office/officeart/2005/8/layout/default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fi-FI"/>
        </a:p>
      </dgm:t>
    </dgm:pt>
    <dgm:pt modelId="{88A40E80-FA1E-4BC4-A154-0C0EA5955EE5}">
      <dgm:prSet phldrT="[Teksti]"/>
      <dgm:spPr/>
      <dgm:t>
        <a:bodyPr/>
        <a:lstStyle/>
        <a:p>
          <a:r>
            <a:rPr lang="fi-FI"/>
            <a:t>Väkivalta &amp; kaltoinkohtelu (fyysinen, psyykkinen, sosiaalinen, taloudellinen)</a:t>
          </a:r>
        </a:p>
      </dgm:t>
    </dgm:pt>
    <dgm:pt modelId="{B1BA5B8D-4166-4B90-B16E-4102A0549459}" type="parTrans" cxnId="{5DE43978-C6A5-4653-9F02-BC2D4F0ABFB3}">
      <dgm:prSet/>
      <dgm:spPr/>
      <dgm:t>
        <a:bodyPr/>
        <a:lstStyle/>
        <a:p>
          <a:endParaRPr lang="fi-FI"/>
        </a:p>
      </dgm:t>
    </dgm:pt>
    <dgm:pt modelId="{7B7C3601-137D-4FBE-AFAF-CED89767697C}" type="sibTrans" cxnId="{5DE43978-C6A5-4653-9F02-BC2D4F0ABFB3}">
      <dgm:prSet/>
      <dgm:spPr/>
      <dgm:t>
        <a:bodyPr/>
        <a:lstStyle/>
        <a:p>
          <a:endParaRPr lang="fi-FI"/>
        </a:p>
      </dgm:t>
    </dgm:pt>
    <dgm:pt modelId="{649AAF3D-86E2-4A59-AF0C-F07F7C179456}">
      <dgm:prSet phldrT="[Teksti]"/>
      <dgm:spPr/>
      <dgm:t>
        <a:bodyPr/>
        <a:lstStyle/>
        <a:p>
          <a:r>
            <a:rPr lang="fi-FI"/>
            <a:t>Palveluista kieltäytyminen</a:t>
          </a:r>
        </a:p>
        <a:p>
          <a:r>
            <a:rPr lang="fi-FI"/>
            <a:t>- Palvelutarve ilmeinen mutta asiakas kieltäytyy palveluista.</a:t>
          </a:r>
        </a:p>
        <a:p>
          <a:r>
            <a:rPr lang="fi-FI"/>
            <a:t>- Tarve monialaiseen verkostotyöhön</a:t>
          </a:r>
        </a:p>
      </dgm:t>
    </dgm:pt>
    <dgm:pt modelId="{B358C150-972D-460C-B6B3-B3A11B501EB1}" type="parTrans" cxnId="{B3666D1E-FE67-4734-B7A0-DC559AAD4FA5}">
      <dgm:prSet/>
      <dgm:spPr/>
      <dgm:t>
        <a:bodyPr/>
        <a:lstStyle/>
        <a:p>
          <a:endParaRPr lang="fi-FI"/>
        </a:p>
      </dgm:t>
    </dgm:pt>
    <dgm:pt modelId="{012DECFC-F36C-46CB-9DB0-582A035469D1}" type="sibTrans" cxnId="{B3666D1E-FE67-4734-B7A0-DC559AAD4FA5}">
      <dgm:prSet/>
      <dgm:spPr/>
      <dgm:t>
        <a:bodyPr/>
        <a:lstStyle/>
        <a:p>
          <a:endParaRPr lang="fi-FI"/>
        </a:p>
      </dgm:t>
    </dgm:pt>
    <dgm:pt modelId="{35ABB6DF-6E79-44C6-A029-4FEDDD4C4A90}">
      <dgm:prSet phldrT="[Teksti]"/>
      <dgm:spPr/>
      <dgm:t>
        <a:bodyPr/>
        <a:lstStyle/>
        <a:p>
          <a:r>
            <a:rPr lang="fi-FI"/>
            <a:t>Päihde- ja mielenterveysongelma, riippuvuudet </a:t>
          </a:r>
        </a:p>
        <a:p>
          <a:r>
            <a:rPr lang="fi-FI"/>
            <a:t>- Päihdeongelmien yhteys muistisairauksiin -&gt; palveluiden niukkuus</a:t>
          </a:r>
        </a:p>
      </dgm:t>
    </dgm:pt>
    <dgm:pt modelId="{5A0E9A03-77E6-4152-A77F-34E762E7A086}" type="parTrans" cxnId="{8D59FD1E-A666-41DC-BB97-211D33D48815}">
      <dgm:prSet/>
      <dgm:spPr/>
      <dgm:t>
        <a:bodyPr/>
        <a:lstStyle/>
        <a:p>
          <a:endParaRPr lang="fi-FI"/>
        </a:p>
      </dgm:t>
    </dgm:pt>
    <dgm:pt modelId="{7900F646-8FE2-4D29-9B55-B616D0BD38BB}" type="sibTrans" cxnId="{8D59FD1E-A666-41DC-BB97-211D33D48815}">
      <dgm:prSet/>
      <dgm:spPr/>
      <dgm:t>
        <a:bodyPr/>
        <a:lstStyle/>
        <a:p>
          <a:endParaRPr lang="fi-FI"/>
        </a:p>
      </dgm:t>
    </dgm:pt>
    <dgm:pt modelId="{A3297761-6699-4C63-9728-0F528A63F976}">
      <dgm:prSet phldrT="[Teksti]"/>
      <dgm:spPr/>
      <dgm:t>
        <a:bodyPr/>
        <a:lstStyle/>
        <a:p>
          <a:r>
            <a:rPr lang="fi-FI"/>
            <a:t>Haastava perhetilanne;</a:t>
          </a:r>
        </a:p>
        <a:p>
          <a:r>
            <a:rPr lang="fi-FI"/>
            <a:t>- Omaisen päihde,- ja/tai mielenterveysongelma</a:t>
          </a:r>
        </a:p>
        <a:p>
          <a:r>
            <a:rPr lang="fi-FI"/>
            <a:t>- Omaisen haastava muistiongelma</a:t>
          </a:r>
        </a:p>
        <a:p>
          <a:r>
            <a:rPr lang="fi-FI"/>
            <a:t>- Haavoittavat ihmissuhteet</a:t>
          </a:r>
        </a:p>
      </dgm:t>
    </dgm:pt>
    <dgm:pt modelId="{F9799604-B161-4C84-A20B-C383530EE1F7}" type="parTrans" cxnId="{2185C919-0029-4432-AF0A-31E6958B745A}">
      <dgm:prSet/>
      <dgm:spPr/>
      <dgm:t>
        <a:bodyPr/>
        <a:lstStyle/>
        <a:p>
          <a:endParaRPr lang="fi-FI"/>
        </a:p>
      </dgm:t>
    </dgm:pt>
    <dgm:pt modelId="{34A34929-CD4B-43FA-8068-FB8E993DE9F6}" type="sibTrans" cxnId="{2185C919-0029-4432-AF0A-31E6958B745A}">
      <dgm:prSet/>
      <dgm:spPr/>
      <dgm:t>
        <a:bodyPr/>
        <a:lstStyle/>
        <a:p>
          <a:endParaRPr lang="fi-FI"/>
        </a:p>
      </dgm:t>
    </dgm:pt>
    <dgm:pt modelId="{D680C7D3-67F3-45B0-9408-E2A0CFE657EA}">
      <dgm:prSet phldrT="[Teksti]"/>
      <dgm:spPr/>
      <dgm:t>
        <a:bodyPr/>
        <a:lstStyle/>
        <a:p>
          <a:r>
            <a:rPr lang="fi-FI"/>
            <a:t>Useita haastavasta elämäntilanteesta johtuvia tuen tarpeita</a:t>
          </a:r>
        </a:p>
      </dgm:t>
    </dgm:pt>
    <dgm:pt modelId="{AF504DA1-C9DE-4318-B211-20A9FC9A03FE}" type="parTrans" cxnId="{DA14AD0D-FC01-466A-A330-206DBA540573}">
      <dgm:prSet/>
      <dgm:spPr/>
      <dgm:t>
        <a:bodyPr/>
        <a:lstStyle/>
        <a:p>
          <a:endParaRPr lang="fi-FI"/>
        </a:p>
      </dgm:t>
    </dgm:pt>
    <dgm:pt modelId="{FE148F55-8E2D-4629-8382-0022859FCE78}" type="sibTrans" cxnId="{DA14AD0D-FC01-466A-A330-206DBA540573}">
      <dgm:prSet/>
      <dgm:spPr/>
      <dgm:t>
        <a:bodyPr/>
        <a:lstStyle/>
        <a:p>
          <a:endParaRPr lang="fi-FI"/>
        </a:p>
      </dgm:t>
    </dgm:pt>
    <dgm:pt modelId="{747E14C4-FC69-4467-B464-DBDF4DB50B2B}">
      <dgm:prSet/>
      <dgm:spPr/>
      <dgm:t>
        <a:bodyPr/>
        <a:lstStyle/>
        <a:p>
          <a:r>
            <a:rPr lang="fi-FI"/>
            <a:t>Vaikeat taloudelliset tilanteet, velkaantuminen, ulosotto</a:t>
          </a:r>
        </a:p>
      </dgm:t>
    </dgm:pt>
    <dgm:pt modelId="{552F1022-E422-4943-824B-454115BD5D3D}" type="parTrans" cxnId="{5F868276-8903-4A94-8EFD-A315F1190E25}">
      <dgm:prSet/>
      <dgm:spPr/>
      <dgm:t>
        <a:bodyPr/>
        <a:lstStyle/>
        <a:p>
          <a:endParaRPr lang="fi-FI"/>
        </a:p>
      </dgm:t>
    </dgm:pt>
    <dgm:pt modelId="{1E9F5636-D246-40E3-B69F-BBF152493B03}" type="sibTrans" cxnId="{5F868276-8903-4A94-8EFD-A315F1190E25}">
      <dgm:prSet/>
      <dgm:spPr/>
      <dgm:t>
        <a:bodyPr/>
        <a:lstStyle/>
        <a:p>
          <a:endParaRPr lang="fi-FI"/>
        </a:p>
      </dgm:t>
    </dgm:pt>
    <dgm:pt modelId="{FDDA1509-8F6B-409A-8C38-8ECBEEFDBA8B}">
      <dgm:prSet/>
      <dgm:spPr/>
      <dgm:t>
        <a:bodyPr/>
        <a:lstStyle/>
        <a:p>
          <a:r>
            <a:rPr lang="fi-FI"/>
            <a:t>Asumisen haasteet; hamstraus, raivaussiivous,  häätöuhka, tuholaiset, asunnottomuus</a:t>
          </a:r>
        </a:p>
      </dgm:t>
    </dgm:pt>
    <dgm:pt modelId="{BF3F9FDA-058F-42E0-ABDE-63473D606D32}" type="parTrans" cxnId="{1291511D-A78F-49E0-A676-068CCFE1A070}">
      <dgm:prSet/>
      <dgm:spPr/>
      <dgm:t>
        <a:bodyPr/>
        <a:lstStyle/>
        <a:p>
          <a:endParaRPr lang="fi-FI"/>
        </a:p>
      </dgm:t>
    </dgm:pt>
    <dgm:pt modelId="{8A2262A4-719D-4820-BC1C-2BE8B99D961B}" type="sibTrans" cxnId="{1291511D-A78F-49E0-A676-068CCFE1A070}">
      <dgm:prSet/>
      <dgm:spPr/>
      <dgm:t>
        <a:bodyPr/>
        <a:lstStyle/>
        <a:p>
          <a:endParaRPr lang="fi-FI"/>
        </a:p>
      </dgm:t>
    </dgm:pt>
    <dgm:pt modelId="{4DEE9C85-01BE-42B5-97BA-FDA43C095623}">
      <dgm:prSet/>
      <dgm:spPr/>
      <dgm:t>
        <a:bodyPr/>
        <a:lstStyle/>
        <a:p>
          <a:r>
            <a:rPr lang="fi-FI"/>
            <a:t>Muutos- ja kriisitilanteet</a:t>
          </a:r>
        </a:p>
        <a:p>
          <a:r>
            <a:rPr lang="fi-FI"/>
            <a:t>- Huolenpitovastuussa olevan läheisen kuolema</a:t>
          </a:r>
        </a:p>
      </dgm:t>
    </dgm:pt>
    <dgm:pt modelId="{439C8CD1-BF4B-4126-B93C-82B57706B37B}" type="parTrans" cxnId="{D5AEBCF3-39FF-4460-9A13-F47DC6461A2C}">
      <dgm:prSet/>
      <dgm:spPr/>
      <dgm:t>
        <a:bodyPr/>
        <a:lstStyle/>
        <a:p>
          <a:endParaRPr lang="fi-FI"/>
        </a:p>
      </dgm:t>
    </dgm:pt>
    <dgm:pt modelId="{D8102058-87E7-43DC-8F92-93FB0E2DF1E6}" type="sibTrans" cxnId="{D5AEBCF3-39FF-4460-9A13-F47DC6461A2C}">
      <dgm:prSet/>
      <dgm:spPr/>
      <dgm:t>
        <a:bodyPr/>
        <a:lstStyle/>
        <a:p>
          <a:endParaRPr lang="fi-FI"/>
        </a:p>
      </dgm:t>
    </dgm:pt>
    <dgm:pt modelId="{2EC3B6A4-38D6-45AD-BBEC-4FF71EF179E0}" type="pres">
      <dgm:prSet presAssocID="{021C7A22-7E47-41CF-BF23-5465EFA61460}" presName="diagram" presStyleCnt="0">
        <dgm:presLayoutVars>
          <dgm:dir/>
          <dgm:resizeHandles val="exact"/>
        </dgm:presLayoutVars>
      </dgm:prSet>
      <dgm:spPr/>
    </dgm:pt>
    <dgm:pt modelId="{3C002115-2990-44D2-83D1-F902F68D84D4}" type="pres">
      <dgm:prSet presAssocID="{88A40E80-FA1E-4BC4-A154-0C0EA5955EE5}" presName="node" presStyleLbl="node1" presStyleIdx="0" presStyleCnt="8">
        <dgm:presLayoutVars>
          <dgm:bulletEnabled val="1"/>
        </dgm:presLayoutVars>
      </dgm:prSet>
      <dgm:spPr/>
    </dgm:pt>
    <dgm:pt modelId="{7FFBAB7D-75B4-4A3D-8D4B-A221A80352A4}" type="pres">
      <dgm:prSet presAssocID="{7B7C3601-137D-4FBE-AFAF-CED89767697C}" presName="sibTrans" presStyleCnt="0"/>
      <dgm:spPr/>
    </dgm:pt>
    <dgm:pt modelId="{A1448D23-00E4-454E-88AE-91C348C91C93}" type="pres">
      <dgm:prSet presAssocID="{747E14C4-FC69-4467-B464-DBDF4DB50B2B}" presName="node" presStyleLbl="node1" presStyleIdx="1" presStyleCnt="8" custScaleY="102297">
        <dgm:presLayoutVars>
          <dgm:bulletEnabled val="1"/>
        </dgm:presLayoutVars>
      </dgm:prSet>
      <dgm:spPr/>
    </dgm:pt>
    <dgm:pt modelId="{CCAFC2F7-ABCF-4840-8C1A-C46382BFC5DA}" type="pres">
      <dgm:prSet presAssocID="{1E9F5636-D246-40E3-B69F-BBF152493B03}" presName="sibTrans" presStyleCnt="0"/>
      <dgm:spPr/>
    </dgm:pt>
    <dgm:pt modelId="{4885201B-F01A-419C-95E3-841B1950D4F6}" type="pres">
      <dgm:prSet presAssocID="{FDDA1509-8F6B-409A-8C38-8ECBEEFDBA8B}" presName="node" presStyleLbl="node1" presStyleIdx="2" presStyleCnt="8">
        <dgm:presLayoutVars>
          <dgm:bulletEnabled val="1"/>
        </dgm:presLayoutVars>
      </dgm:prSet>
      <dgm:spPr/>
    </dgm:pt>
    <dgm:pt modelId="{A4086F8D-EB1F-4C16-8226-83C4C4D1EC70}" type="pres">
      <dgm:prSet presAssocID="{8A2262A4-719D-4820-BC1C-2BE8B99D961B}" presName="sibTrans" presStyleCnt="0"/>
      <dgm:spPr/>
    </dgm:pt>
    <dgm:pt modelId="{897A8C92-4B33-41A6-9792-2803AF641CA1}" type="pres">
      <dgm:prSet presAssocID="{4DEE9C85-01BE-42B5-97BA-FDA43C095623}" presName="node" presStyleLbl="node1" presStyleIdx="3" presStyleCnt="8" custLinFactNeighborX="126">
        <dgm:presLayoutVars>
          <dgm:bulletEnabled val="1"/>
        </dgm:presLayoutVars>
      </dgm:prSet>
      <dgm:spPr/>
    </dgm:pt>
    <dgm:pt modelId="{F639FE43-C124-41EC-A4EF-B51497B6B22B}" type="pres">
      <dgm:prSet presAssocID="{D8102058-87E7-43DC-8F92-93FB0E2DF1E6}" presName="sibTrans" presStyleCnt="0"/>
      <dgm:spPr/>
    </dgm:pt>
    <dgm:pt modelId="{39E1C072-122A-4450-9C31-08556486378C}" type="pres">
      <dgm:prSet presAssocID="{649AAF3D-86E2-4A59-AF0C-F07F7C179456}" presName="node" presStyleLbl="node1" presStyleIdx="4" presStyleCnt="8">
        <dgm:presLayoutVars>
          <dgm:bulletEnabled val="1"/>
        </dgm:presLayoutVars>
      </dgm:prSet>
      <dgm:spPr/>
    </dgm:pt>
    <dgm:pt modelId="{055502CD-48B1-48EC-A871-5D2F724C9B86}" type="pres">
      <dgm:prSet presAssocID="{012DECFC-F36C-46CB-9DB0-582A035469D1}" presName="sibTrans" presStyleCnt="0"/>
      <dgm:spPr/>
    </dgm:pt>
    <dgm:pt modelId="{51A79927-8E49-42A6-9671-2A8FB928A64B}" type="pres">
      <dgm:prSet presAssocID="{35ABB6DF-6E79-44C6-A029-4FEDDD4C4A90}" presName="node" presStyleLbl="node1" presStyleIdx="5" presStyleCnt="8">
        <dgm:presLayoutVars>
          <dgm:bulletEnabled val="1"/>
        </dgm:presLayoutVars>
      </dgm:prSet>
      <dgm:spPr/>
    </dgm:pt>
    <dgm:pt modelId="{2BAFEDB2-CF3E-4C5A-9FBB-049971027B55}" type="pres">
      <dgm:prSet presAssocID="{7900F646-8FE2-4D29-9B55-B616D0BD38BB}" presName="sibTrans" presStyleCnt="0"/>
      <dgm:spPr/>
    </dgm:pt>
    <dgm:pt modelId="{38FAAADE-D592-475C-8457-89E53579DDAF}" type="pres">
      <dgm:prSet presAssocID="{A3297761-6699-4C63-9728-0F528A63F976}" presName="node" presStyleLbl="node1" presStyleIdx="6" presStyleCnt="8">
        <dgm:presLayoutVars>
          <dgm:bulletEnabled val="1"/>
        </dgm:presLayoutVars>
      </dgm:prSet>
      <dgm:spPr/>
    </dgm:pt>
    <dgm:pt modelId="{1737FFF1-0B9E-4C1D-9744-A84836E0C230}" type="pres">
      <dgm:prSet presAssocID="{34A34929-CD4B-43FA-8068-FB8E993DE9F6}" presName="sibTrans" presStyleCnt="0"/>
      <dgm:spPr/>
    </dgm:pt>
    <dgm:pt modelId="{C6D38121-8A22-47E8-9B59-3BB3122CEBCB}" type="pres">
      <dgm:prSet presAssocID="{D680C7D3-67F3-45B0-9408-E2A0CFE657EA}" presName="node" presStyleLbl="node1" presStyleIdx="7" presStyleCnt="8" custLinFactNeighborX="126">
        <dgm:presLayoutVars>
          <dgm:bulletEnabled val="1"/>
        </dgm:presLayoutVars>
      </dgm:prSet>
      <dgm:spPr/>
    </dgm:pt>
  </dgm:ptLst>
  <dgm:cxnLst>
    <dgm:cxn modelId="{DA14AD0D-FC01-466A-A330-206DBA540573}" srcId="{021C7A22-7E47-41CF-BF23-5465EFA61460}" destId="{D680C7D3-67F3-45B0-9408-E2A0CFE657EA}" srcOrd="7" destOrd="0" parTransId="{AF504DA1-C9DE-4318-B211-20A9FC9A03FE}" sibTransId="{FE148F55-8E2D-4629-8382-0022859FCE78}"/>
    <dgm:cxn modelId="{79C1230F-95D0-4C8E-94D7-1C884DFDFC87}" type="presOf" srcId="{D680C7D3-67F3-45B0-9408-E2A0CFE657EA}" destId="{C6D38121-8A22-47E8-9B59-3BB3122CEBCB}" srcOrd="0" destOrd="0" presId="urn:microsoft.com/office/officeart/2005/8/layout/default"/>
    <dgm:cxn modelId="{2185C919-0029-4432-AF0A-31E6958B745A}" srcId="{021C7A22-7E47-41CF-BF23-5465EFA61460}" destId="{A3297761-6699-4C63-9728-0F528A63F976}" srcOrd="6" destOrd="0" parTransId="{F9799604-B161-4C84-A20B-C383530EE1F7}" sibTransId="{34A34929-CD4B-43FA-8068-FB8E993DE9F6}"/>
    <dgm:cxn modelId="{1291511D-A78F-49E0-A676-068CCFE1A070}" srcId="{021C7A22-7E47-41CF-BF23-5465EFA61460}" destId="{FDDA1509-8F6B-409A-8C38-8ECBEEFDBA8B}" srcOrd="2" destOrd="0" parTransId="{BF3F9FDA-058F-42E0-ABDE-63473D606D32}" sibTransId="{8A2262A4-719D-4820-BC1C-2BE8B99D961B}"/>
    <dgm:cxn modelId="{B3666D1E-FE67-4734-B7A0-DC559AAD4FA5}" srcId="{021C7A22-7E47-41CF-BF23-5465EFA61460}" destId="{649AAF3D-86E2-4A59-AF0C-F07F7C179456}" srcOrd="4" destOrd="0" parTransId="{B358C150-972D-460C-B6B3-B3A11B501EB1}" sibTransId="{012DECFC-F36C-46CB-9DB0-582A035469D1}"/>
    <dgm:cxn modelId="{A3C9DF1E-42A0-48AA-A06D-07C04DCC6594}" type="presOf" srcId="{649AAF3D-86E2-4A59-AF0C-F07F7C179456}" destId="{39E1C072-122A-4450-9C31-08556486378C}" srcOrd="0" destOrd="0" presId="urn:microsoft.com/office/officeart/2005/8/layout/default"/>
    <dgm:cxn modelId="{8D59FD1E-A666-41DC-BB97-211D33D48815}" srcId="{021C7A22-7E47-41CF-BF23-5465EFA61460}" destId="{35ABB6DF-6E79-44C6-A029-4FEDDD4C4A90}" srcOrd="5" destOrd="0" parTransId="{5A0E9A03-77E6-4152-A77F-34E762E7A086}" sibTransId="{7900F646-8FE2-4D29-9B55-B616D0BD38BB}"/>
    <dgm:cxn modelId="{444C462A-A729-4D28-A0DB-27D810D27A96}" type="presOf" srcId="{88A40E80-FA1E-4BC4-A154-0C0EA5955EE5}" destId="{3C002115-2990-44D2-83D1-F902F68D84D4}" srcOrd="0" destOrd="0" presId="urn:microsoft.com/office/officeart/2005/8/layout/default"/>
    <dgm:cxn modelId="{09D8AA65-9025-46AB-991F-D8F4413EFA43}" type="presOf" srcId="{A3297761-6699-4C63-9728-0F528A63F976}" destId="{38FAAADE-D592-475C-8457-89E53579DDAF}" srcOrd="0" destOrd="0" presId="urn:microsoft.com/office/officeart/2005/8/layout/default"/>
    <dgm:cxn modelId="{E92D0753-1DB7-43F4-815C-917B0786BAD9}" type="presOf" srcId="{4DEE9C85-01BE-42B5-97BA-FDA43C095623}" destId="{897A8C92-4B33-41A6-9792-2803AF641CA1}" srcOrd="0" destOrd="0" presId="urn:microsoft.com/office/officeart/2005/8/layout/default"/>
    <dgm:cxn modelId="{5F868276-8903-4A94-8EFD-A315F1190E25}" srcId="{021C7A22-7E47-41CF-BF23-5465EFA61460}" destId="{747E14C4-FC69-4467-B464-DBDF4DB50B2B}" srcOrd="1" destOrd="0" parTransId="{552F1022-E422-4943-824B-454115BD5D3D}" sibTransId="{1E9F5636-D246-40E3-B69F-BBF152493B03}"/>
    <dgm:cxn modelId="{5DE43978-C6A5-4653-9F02-BC2D4F0ABFB3}" srcId="{021C7A22-7E47-41CF-BF23-5465EFA61460}" destId="{88A40E80-FA1E-4BC4-A154-0C0EA5955EE5}" srcOrd="0" destOrd="0" parTransId="{B1BA5B8D-4166-4B90-B16E-4102A0549459}" sibTransId="{7B7C3601-137D-4FBE-AFAF-CED89767697C}"/>
    <dgm:cxn modelId="{D433409B-92A1-4784-82BC-E509CE31ADFC}" type="presOf" srcId="{021C7A22-7E47-41CF-BF23-5465EFA61460}" destId="{2EC3B6A4-38D6-45AD-BBEC-4FF71EF179E0}" srcOrd="0" destOrd="0" presId="urn:microsoft.com/office/officeart/2005/8/layout/default"/>
    <dgm:cxn modelId="{ADFEA4D9-C0CA-46EE-B76B-417AF71A1876}" type="presOf" srcId="{747E14C4-FC69-4467-B464-DBDF4DB50B2B}" destId="{A1448D23-00E4-454E-88AE-91C348C91C93}" srcOrd="0" destOrd="0" presId="urn:microsoft.com/office/officeart/2005/8/layout/default"/>
    <dgm:cxn modelId="{F29464E8-9D94-4287-B550-2090F5ABE618}" type="presOf" srcId="{FDDA1509-8F6B-409A-8C38-8ECBEEFDBA8B}" destId="{4885201B-F01A-419C-95E3-841B1950D4F6}" srcOrd="0" destOrd="0" presId="urn:microsoft.com/office/officeart/2005/8/layout/default"/>
    <dgm:cxn modelId="{D5AEBCF3-39FF-4460-9A13-F47DC6461A2C}" srcId="{021C7A22-7E47-41CF-BF23-5465EFA61460}" destId="{4DEE9C85-01BE-42B5-97BA-FDA43C095623}" srcOrd="3" destOrd="0" parTransId="{439C8CD1-BF4B-4126-B93C-82B57706B37B}" sibTransId="{D8102058-87E7-43DC-8F92-93FB0E2DF1E6}"/>
    <dgm:cxn modelId="{896FEEF3-9139-4CCF-999E-DE9E143EF5EB}" type="presOf" srcId="{35ABB6DF-6E79-44C6-A029-4FEDDD4C4A90}" destId="{51A79927-8E49-42A6-9671-2A8FB928A64B}" srcOrd="0" destOrd="0" presId="urn:microsoft.com/office/officeart/2005/8/layout/default"/>
    <dgm:cxn modelId="{19EAAB89-0C3D-402F-8F06-2681E5A37B80}" type="presParOf" srcId="{2EC3B6A4-38D6-45AD-BBEC-4FF71EF179E0}" destId="{3C002115-2990-44D2-83D1-F902F68D84D4}" srcOrd="0" destOrd="0" presId="urn:microsoft.com/office/officeart/2005/8/layout/default"/>
    <dgm:cxn modelId="{B80308E6-6509-4054-AB48-DB2E3487A6CE}" type="presParOf" srcId="{2EC3B6A4-38D6-45AD-BBEC-4FF71EF179E0}" destId="{7FFBAB7D-75B4-4A3D-8D4B-A221A80352A4}" srcOrd="1" destOrd="0" presId="urn:microsoft.com/office/officeart/2005/8/layout/default"/>
    <dgm:cxn modelId="{2665A8C0-A087-4573-B228-B53C80F1D953}" type="presParOf" srcId="{2EC3B6A4-38D6-45AD-BBEC-4FF71EF179E0}" destId="{A1448D23-00E4-454E-88AE-91C348C91C93}" srcOrd="2" destOrd="0" presId="urn:microsoft.com/office/officeart/2005/8/layout/default"/>
    <dgm:cxn modelId="{7C5A9364-6024-4102-9C6D-15F2F8771C4B}" type="presParOf" srcId="{2EC3B6A4-38D6-45AD-BBEC-4FF71EF179E0}" destId="{CCAFC2F7-ABCF-4840-8C1A-C46382BFC5DA}" srcOrd="3" destOrd="0" presId="urn:microsoft.com/office/officeart/2005/8/layout/default"/>
    <dgm:cxn modelId="{EA75D396-A720-49C3-AD8B-B5D1F4B2AFA3}" type="presParOf" srcId="{2EC3B6A4-38D6-45AD-BBEC-4FF71EF179E0}" destId="{4885201B-F01A-419C-95E3-841B1950D4F6}" srcOrd="4" destOrd="0" presId="urn:microsoft.com/office/officeart/2005/8/layout/default"/>
    <dgm:cxn modelId="{95DF9BDE-E3D3-4C53-A10D-6D9CDB6C8D88}" type="presParOf" srcId="{2EC3B6A4-38D6-45AD-BBEC-4FF71EF179E0}" destId="{A4086F8D-EB1F-4C16-8226-83C4C4D1EC70}" srcOrd="5" destOrd="0" presId="urn:microsoft.com/office/officeart/2005/8/layout/default"/>
    <dgm:cxn modelId="{5A5C684A-34B4-4B43-BD57-35E912B18640}" type="presParOf" srcId="{2EC3B6A4-38D6-45AD-BBEC-4FF71EF179E0}" destId="{897A8C92-4B33-41A6-9792-2803AF641CA1}" srcOrd="6" destOrd="0" presId="urn:microsoft.com/office/officeart/2005/8/layout/default"/>
    <dgm:cxn modelId="{325CE497-D99B-4C60-8AAA-3FE6DD00E727}" type="presParOf" srcId="{2EC3B6A4-38D6-45AD-BBEC-4FF71EF179E0}" destId="{F639FE43-C124-41EC-A4EF-B51497B6B22B}" srcOrd="7" destOrd="0" presId="urn:microsoft.com/office/officeart/2005/8/layout/default"/>
    <dgm:cxn modelId="{287D63DB-C4DB-4AA4-B9A4-3DC69BF2508E}" type="presParOf" srcId="{2EC3B6A4-38D6-45AD-BBEC-4FF71EF179E0}" destId="{39E1C072-122A-4450-9C31-08556486378C}" srcOrd="8" destOrd="0" presId="urn:microsoft.com/office/officeart/2005/8/layout/default"/>
    <dgm:cxn modelId="{93A05A99-F828-468D-9CA1-8C37C45F38EF}" type="presParOf" srcId="{2EC3B6A4-38D6-45AD-BBEC-4FF71EF179E0}" destId="{055502CD-48B1-48EC-A871-5D2F724C9B86}" srcOrd="9" destOrd="0" presId="urn:microsoft.com/office/officeart/2005/8/layout/default"/>
    <dgm:cxn modelId="{57ACCD0E-0B91-42A5-94D5-3F9621587273}" type="presParOf" srcId="{2EC3B6A4-38D6-45AD-BBEC-4FF71EF179E0}" destId="{51A79927-8E49-42A6-9671-2A8FB928A64B}" srcOrd="10" destOrd="0" presId="urn:microsoft.com/office/officeart/2005/8/layout/default"/>
    <dgm:cxn modelId="{B070A015-8212-465C-B1F9-1809CB78210E}" type="presParOf" srcId="{2EC3B6A4-38D6-45AD-BBEC-4FF71EF179E0}" destId="{2BAFEDB2-CF3E-4C5A-9FBB-049971027B55}" srcOrd="11" destOrd="0" presId="urn:microsoft.com/office/officeart/2005/8/layout/default"/>
    <dgm:cxn modelId="{4235D036-04EC-4A0C-9759-425B85F2D1A7}" type="presParOf" srcId="{2EC3B6A4-38D6-45AD-BBEC-4FF71EF179E0}" destId="{38FAAADE-D592-475C-8457-89E53579DDAF}" srcOrd="12" destOrd="0" presId="urn:microsoft.com/office/officeart/2005/8/layout/default"/>
    <dgm:cxn modelId="{C939D357-90AF-4D78-9068-353EE8DC3227}" type="presParOf" srcId="{2EC3B6A4-38D6-45AD-BBEC-4FF71EF179E0}" destId="{1737FFF1-0B9E-4C1D-9744-A84836E0C230}" srcOrd="13" destOrd="0" presId="urn:microsoft.com/office/officeart/2005/8/layout/default"/>
    <dgm:cxn modelId="{9661EF10-0B6A-4B8B-9F79-DF87D5BAAE93}" type="presParOf" srcId="{2EC3B6A4-38D6-45AD-BBEC-4FF71EF179E0}" destId="{C6D38121-8A22-47E8-9B59-3BB3122CEBCB}" srcOrd="14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C002115-2990-44D2-83D1-F902F68D84D4}">
      <dsp:nvSpPr>
        <dsp:cNvPr id="0" name=""/>
        <dsp:cNvSpPr/>
      </dsp:nvSpPr>
      <dsp:spPr>
        <a:xfrm>
          <a:off x="486788" y="17675"/>
          <a:ext cx="2385947" cy="143156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400" kern="1200"/>
            <a:t>Väkivalta &amp; kaltoinkohtelu (fyysinen, psyykkinen, sosiaalinen, taloudellinen)</a:t>
          </a:r>
        </a:p>
      </dsp:txBody>
      <dsp:txXfrm>
        <a:off x="486788" y="17675"/>
        <a:ext cx="2385947" cy="1431568"/>
      </dsp:txXfrm>
    </dsp:sp>
    <dsp:sp modelId="{A1448D23-00E4-454E-88AE-91C348C91C93}">
      <dsp:nvSpPr>
        <dsp:cNvPr id="0" name=""/>
        <dsp:cNvSpPr/>
      </dsp:nvSpPr>
      <dsp:spPr>
        <a:xfrm>
          <a:off x="3111330" y="1233"/>
          <a:ext cx="2385947" cy="1464451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400" kern="1200"/>
            <a:t>Vaikeat taloudelliset tilanteet, velkaantuminen, ulosotto</a:t>
          </a:r>
        </a:p>
      </dsp:txBody>
      <dsp:txXfrm>
        <a:off x="3111330" y="1233"/>
        <a:ext cx="2385947" cy="1464451"/>
      </dsp:txXfrm>
    </dsp:sp>
    <dsp:sp modelId="{4885201B-F01A-419C-95E3-841B1950D4F6}">
      <dsp:nvSpPr>
        <dsp:cNvPr id="0" name=""/>
        <dsp:cNvSpPr/>
      </dsp:nvSpPr>
      <dsp:spPr>
        <a:xfrm>
          <a:off x="5735872" y="17675"/>
          <a:ext cx="2385947" cy="143156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400" kern="1200"/>
            <a:t>Asumisen haasteet; hamstraus, raivaussiivous,  häätöuhka, tuholaiset, asunnottomuus</a:t>
          </a:r>
        </a:p>
      </dsp:txBody>
      <dsp:txXfrm>
        <a:off x="5735872" y="17675"/>
        <a:ext cx="2385947" cy="1431568"/>
      </dsp:txXfrm>
    </dsp:sp>
    <dsp:sp modelId="{897A8C92-4B33-41A6-9792-2803AF641CA1}">
      <dsp:nvSpPr>
        <dsp:cNvPr id="0" name=""/>
        <dsp:cNvSpPr/>
      </dsp:nvSpPr>
      <dsp:spPr>
        <a:xfrm>
          <a:off x="8363420" y="17675"/>
          <a:ext cx="2385947" cy="143156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400" kern="1200"/>
            <a:t>Muutos- ja kriisitilanteet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400" kern="1200"/>
            <a:t>- Huolenpitovastuussa olevan läheisen kuolema</a:t>
          </a:r>
        </a:p>
      </dsp:txBody>
      <dsp:txXfrm>
        <a:off x="8363420" y="17675"/>
        <a:ext cx="2385947" cy="1431568"/>
      </dsp:txXfrm>
    </dsp:sp>
    <dsp:sp modelId="{39E1C072-122A-4450-9C31-08556486378C}">
      <dsp:nvSpPr>
        <dsp:cNvPr id="0" name=""/>
        <dsp:cNvSpPr/>
      </dsp:nvSpPr>
      <dsp:spPr>
        <a:xfrm>
          <a:off x="486788" y="1704279"/>
          <a:ext cx="2385947" cy="143156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400" kern="1200"/>
            <a:t>Palveluista kieltäytyminen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400" kern="1200"/>
            <a:t>- Palvelutarve ilmeinen mutta asiakas kieltäytyy palveluista.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400" kern="1200"/>
            <a:t>- Tarve monialaiseen verkostotyöhön</a:t>
          </a:r>
        </a:p>
      </dsp:txBody>
      <dsp:txXfrm>
        <a:off x="486788" y="1704279"/>
        <a:ext cx="2385947" cy="1431568"/>
      </dsp:txXfrm>
    </dsp:sp>
    <dsp:sp modelId="{51A79927-8E49-42A6-9671-2A8FB928A64B}">
      <dsp:nvSpPr>
        <dsp:cNvPr id="0" name=""/>
        <dsp:cNvSpPr/>
      </dsp:nvSpPr>
      <dsp:spPr>
        <a:xfrm>
          <a:off x="3111330" y="1704279"/>
          <a:ext cx="2385947" cy="143156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400" kern="1200"/>
            <a:t>Päihde- ja mielenterveysongelma, riippuvuudet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400" kern="1200"/>
            <a:t>- Päihdeongelmien yhteys muistisairauksiin -&gt; palveluiden niukkuus</a:t>
          </a:r>
        </a:p>
      </dsp:txBody>
      <dsp:txXfrm>
        <a:off x="3111330" y="1704279"/>
        <a:ext cx="2385947" cy="1431568"/>
      </dsp:txXfrm>
    </dsp:sp>
    <dsp:sp modelId="{38FAAADE-D592-475C-8457-89E53579DDAF}">
      <dsp:nvSpPr>
        <dsp:cNvPr id="0" name=""/>
        <dsp:cNvSpPr/>
      </dsp:nvSpPr>
      <dsp:spPr>
        <a:xfrm>
          <a:off x="5735872" y="1704279"/>
          <a:ext cx="2385947" cy="143156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400" kern="1200"/>
            <a:t>Haastava perhetilanne;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400" kern="1200"/>
            <a:t>- Omaisen päihde,- ja/tai mielenterveysongelma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400" kern="1200"/>
            <a:t>- Omaisen haastava muistiongelma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400" kern="1200"/>
            <a:t>- Haavoittavat ihmissuhteet</a:t>
          </a:r>
        </a:p>
      </dsp:txBody>
      <dsp:txXfrm>
        <a:off x="5735872" y="1704279"/>
        <a:ext cx="2385947" cy="1431568"/>
      </dsp:txXfrm>
    </dsp:sp>
    <dsp:sp modelId="{C6D38121-8A22-47E8-9B59-3BB3122CEBCB}">
      <dsp:nvSpPr>
        <dsp:cNvPr id="0" name=""/>
        <dsp:cNvSpPr/>
      </dsp:nvSpPr>
      <dsp:spPr>
        <a:xfrm>
          <a:off x="8363420" y="1704279"/>
          <a:ext cx="2385947" cy="143156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400" kern="1200"/>
            <a:t>Useita haastavasta elämäntilanteesta johtuvia tuen tarpeita</a:t>
          </a:r>
        </a:p>
      </dsp:txBody>
      <dsp:txXfrm>
        <a:off x="8363420" y="1704279"/>
        <a:ext cx="2385947" cy="143156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AD377A-9A0A-4F4F-965F-B3B22A21D4B4}" type="datetimeFigureOut">
              <a:rPr lang="fi-FI" smtClean="0"/>
              <a:t>13.12.2023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AA32D6-B6B6-491B-A2FF-8DFBD35216A9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5155919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73095AD-1777-4067-B046-A1A28382DA49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29738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4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laotsikko 2">
            <a:extLst>
              <a:ext uri="{FF2B5EF4-FFF2-40B4-BE49-F238E27FC236}">
                <a16:creationId xmlns:a16="http://schemas.microsoft.com/office/drawing/2014/main" id="{E79FDE38-AB36-104A-134D-391C549C00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55688" y="3644900"/>
            <a:ext cx="5184775" cy="2087810"/>
          </a:xfrm>
        </p:spPr>
        <p:txBody>
          <a:bodyPr/>
          <a:lstStyle>
            <a:lvl1pPr marL="0" indent="0" algn="l">
              <a:buNone/>
              <a:defRPr lang="fi-FI" sz="2000" kern="1200" dirty="0" err="1" smtClean="0">
                <a:solidFill>
                  <a:srgbClr val="10285E"/>
                </a:solidFill>
                <a:latin typeface="+mn-lt"/>
                <a:ea typeface="Inter" panose="02000503000000020004" pitchFamily="2" charset="0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9" name="Kuva 8">
            <a:extLst>
              <a:ext uri="{FF2B5EF4-FFF2-40B4-BE49-F238E27FC236}">
                <a16:creationId xmlns:a16="http://schemas.microsoft.com/office/drawing/2014/main" id="{3FB70ACE-C88B-4462-956A-778C138753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88381" y="332867"/>
            <a:ext cx="4827170" cy="6264274"/>
          </a:xfrm>
          <a:prstGeom prst="rect">
            <a:avLst/>
          </a:prstGeom>
        </p:spPr>
      </p:pic>
      <p:pic>
        <p:nvPicPr>
          <p:cNvPr id="10" name="Kuva 9">
            <a:extLst>
              <a:ext uri="{FF2B5EF4-FFF2-40B4-BE49-F238E27FC236}">
                <a16:creationId xmlns:a16="http://schemas.microsoft.com/office/drawing/2014/main" id="{10919056-E79E-47D8-B0E3-43BAAF3E01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88381" y="332867"/>
            <a:ext cx="4827170" cy="6264274"/>
          </a:xfrm>
          <a:prstGeom prst="rect">
            <a:avLst/>
          </a:prstGeom>
        </p:spPr>
      </p:pic>
      <p:pic>
        <p:nvPicPr>
          <p:cNvPr id="13" name="Kuva 12">
            <a:extLst>
              <a:ext uri="{FF2B5EF4-FFF2-40B4-BE49-F238E27FC236}">
                <a16:creationId xmlns:a16="http://schemas.microsoft.com/office/drawing/2014/main" id="{1053625D-16BF-44C7-8504-EE92C2BD79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72575" y="6237288"/>
            <a:ext cx="1440000" cy="425694"/>
          </a:xfrm>
          <a:prstGeom prst="rect">
            <a:avLst/>
          </a:prstGeom>
        </p:spPr>
      </p:pic>
      <p:sp>
        <p:nvSpPr>
          <p:cNvPr id="21" name="Tekstin paikkamerkki 20">
            <a:extLst>
              <a:ext uri="{FF2B5EF4-FFF2-40B4-BE49-F238E27FC236}">
                <a16:creationId xmlns:a16="http://schemas.microsoft.com/office/drawing/2014/main" id="{B326C72A-CF20-4784-B191-D8224CD082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55688" y="908719"/>
            <a:ext cx="5976937" cy="2304381"/>
          </a:xfrm>
        </p:spPr>
        <p:txBody>
          <a:bodyPr anchor="b"/>
          <a:lstStyle>
            <a:lvl1pPr marL="0" indent="0">
              <a:buNone/>
              <a:defRPr sz="4800" b="1">
                <a:solidFill>
                  <a:schemeClr val="tx2"/>
                </a:solidFill>
                <a:latin typeface="+mj-lt"/>
              </a:defRPr>
            </a:lvl1pPr>
            <a:lvl2pPr marL="144000" indent="0">
              <a:buNone/>
              <a:defRPr>
                <a:latin typeface="+mj-lt"/>
              </a:defRPr>
            </a:lvl2pPr>
            <a:lvl3pPr marL="324000" indent="0">
              <a:buNone/>
              <a:defRPr>
                <a:latin typeface="+mj-lt"/>
              </a:defRPr>
            </a:lvl3pPr>
            <a:lvl4pPr marL="504000" indent="0">
              <a:buNone/>
              <a:defRPr>
                <a:latin typeface="+mj-lt"/>
              </a:defRPr>
            </a:lvl4pPr>
            <a:lvl5pPr marL="684000" indent="0"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7353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96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/>
              <a:t>Muokkaa perustyyliä napsauttamalla</a:t>
            </a:r>
          </a:p>
        </p:txBody>
      </p:sp>
      <p:sp>
        <p:nvSpPr>
          <p:cNvPr id="9" name="Sisällön paikkamerkki 8"/>
          <p:cNvSpPr>
            <a:spLocks noGrp="1"/>
          </p:cNvSpPr>
          <p:nvPr>
            <p:ph sz="quarter" idx="13"/>
          </p:nvPr>
        </p:nvSpPr>
        <p:spPr>
          <a:xfrm>
            <a:off x="479425" y="1628775"/>
            <a:ext cx="5472113" cy="4321175"/>
          </a:xfrm>
        </p:spPr>
        <p:txBody>
          <a:bodyPr/>
          <a:lstStyle>
            <a:lvl1pPr>
              <a:defRPr sz="2800"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Sisällön paikkamerkki 10"/>
          <p:cNvSpPr>
            <a:spLocks noGrp="1"/>
          </p:cNvSpPr>
          <p:nvPr>
            <p:ph sz="quarter" idx="14"/>
          </p:nvPr>
        </p:nvSpPr>
        <p:spPr>
          <a:xfrm>
            <a:off x="6240463" y="1628775"/>
            <a:ext cx="5472112" cy="4321175"/>
          </a:xfrm>
        </p:spPr>
        <p:txBody>
          <a:bodyPr/>
          <a:lstStyle>
            <a:lvl1pPr>
              <a:defRPr sz="2800"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2703214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479425" y="333375"/>
            <a:ext cx="11233150" cy="935039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/>
              <a:t>Muokkaa perustyyliä napsauttamalla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479425" y="1633538"/>
            <a:ext cx="5472113" cy="679338"/>
          </a:xfrm>
        </p:spPr>
        <p:txBody>
          <a:bodyPr anchor="b"/>
          <a:lstStyle>
            <a:lvl1pPr marL="0" indent="0">
              <a:buNone/>
              <a:defRPr sz="2800" b="1">
                <a:solidFill>
                  <a:schemeClr val="accent1"/>
                </a:solidFill>
                <a:latin typeface="+mn-lt"/>
                <a:ea typeface="Inter SemiBold" panose="020005030000000200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479425" y="2505075"/>
            <a:ext cx="5472113" cy="34448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6240463" y="1633538"/>
            <a:ext cx="5472112" cy="679338"/>
          </a:xfrm>
        </p:spPr>
        <p:txBody>
          <a:bodyPr anchor="b"/>
          <a:lstStyle>
            <a:lvl1pPr marL="0" indent="0">
              <a:buNone/>
              <a:defRPr sz="2800" b="1">
                <a:solidFill>
                  <a:schemeClr val="accent1"/>
                </a:solidFill>
                <a:latin typeface="+mn-lt"/>
                <a:ea typeface="Inter SemiBold" panose="020005030000000200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/>
          </p:nvPr>
        </p:nvSpPr>
        <p:spPr>
          <a:xfrm>
            <a:off x="6240463" y="2505075"/>
            <a:ext cx="5472112" cy="34448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142469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laotsikko 2">
            <a:extLst>
              <a:ext uri="{FF2B5EF4-FFF2-40B4-BE49-F238E27FC236}">
                <a16:creationId xmlns:a16="http://schemas.microsoft.com/office/drawing/2014/main" id="{E79FDE38-AB36-104A-134D-391C549C00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55688" y="3644900"/>
            <a:ext cx="5184775" cy="2087810"/>
          </a:xfrm>
        </p:spPr>
        <p:txBody>
          <a:bodyPr/>
          <a:lstStyle>
            <a:lvl1pPr marL="0" indent="0" algn="l">
              <a:buNone/>
              <a:defRPr lang="fi-FI" sz="2000" kern="1200" dirty="0" err="1" smtClean="0">
                <a:solidFill>
                  <a:srgbClr val="10285E"/>
                </a:solidFill>
                <a:latin typeface="+mn-lt"/>
                <a:ea typeface="Inter" panose="02000503000000020004" pitchFamily="2" charset="0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GB"/>
          </a:p>
        </p:txBody>
      </p:sp>
      <p:pic>
        <p:nvPicPr>
          <p:cNvPr id="9" name="Kuva 8">
            <a:extLst>
              <a:ext uri="{FF2B5EF4-FFF2-40B4-BE49-F238E27FC236}">
                <a16:creationId xmlns:a16="http://schemas.microsoft.com/office/drawing/2014/main" id="{3FB70ACE-C88B-4462-956A-778C138753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88381" y="332867"/>
            <a:ext cx="4827170" cy="6264274"/>
          </a:xfrm>
          <a:prstGeom prst="rect">
            <a:avLst/>
          </a:prstGeom>
        </p:spPr>
      </p:pic>
      <p:pic>
        <p:nvPicPr>
          <p:cNvPr id="10" name="Kuva 9">
            <a:extLst>
              <a:ext uri="{FF2B5EF4-FFF2-40B4-BE49-F238E27FC236}">
                <a16:creationId xmlns:a16="http://schemas.microsoft.com/office/drawing/2014/main" id="{10919056-E79E-47D8-B0E3-43BAAF3E01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88381" y="332867"/>
            <a:ext cx="4827170" cy="6264274"/>
          </a:xfrm>
          <a:prstGeom prst="rect">
            <a:avLst/>
          </a:prstGeom>
        </p:spPr>
      </p:pic>
      <p:pic>
        <p:nvPicPr>
          <p:cNvPr id="13" name="Kuva 12">
            <a:extLst>
              <a:ext uri="{FF2B5EF4-FFF2-40B4-BE49-F238E27FC236}">
                <a16:creationId xmlns:a16="http://schemas.microsoft.com/office/drawing/2014/main" id="{1053625D-16BF-44C7-8504-EE92C2BD79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72575" y="6237288"/>
            <a:ext cx="1440000" cy="425694"/>
          </a:xfrm>
          <a:prstGeom prst="rect">
            <a:avLst/>
          </a:prstGeom>
        </p:spPr>
      </p:pic>
      <p:sp>
        <p:nvSpPr>
          <p:cNvPr id="21" name="Tekstin paikkamerkki 20">
            <a:extLst>
              <a:ext uri="{FF2B5EF4-FFF2-40B4-BE49-F238E27FC236}">
                <a16:creationId xmlns:a16="http://schemas.microsoft.com/office/drawing/2014/main" id="{B326C72A-CF20-4784-B191-D8224CD082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55688" y="908719"/>
            <a:ext cx="5976937" cy="2304381"/>
          </a:xfrm>
        </p:spPr>
        <p:txBody>
          <a:bodyPr anchor="b"/>
          <a:lstStyle>
            <a:lvl1pPr marL="0" indent="0">
              <a:buNone/>
              <a:defRPr sz="4800" b="1">
                <a:solidFill>
                  <a:schemeClr val="tx2"/>
                </a:solidFill>
                <a:latin typeface="+mj-lt"/>
              </a:defRPr>
            </a:lvl1pPr>
            <a:lvl2pPr marL="144000" indent="0">
              <a:buNone/>
              <a:defRPr>
                <a:latin typeface="+mj-lt"/>
              </a:defRPr>
            </a:lvl2pPr>
            <a:lvl3pPr marL="324000" indent="0">
              <a:buNone/>
              <a:defRPr>
                <a:latin typeface="+mj-lt"/>
              </a:defRPr>
            </a:lvl3pPr>
            <a:lvl4pPr marL="504000" indent="0">
              <a:buNone/>
              <a:defRPr>
                <a:latin typeface="+mj-lt"/>
              </a:defRPr>
            </a:lvl4pPr>
            <a:lvl5pPr marL="684000" indent="0">
              <a:buNone/>
              <a:defRPr>
                <a:latin typeface="+mj-lt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9659890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96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 ja sisältö_1pal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/>
              <a:t>Muokkaa perustyyliä napsauttamalla</a:t>
            </a:r>
          </a:p>
        </p:txBody>
      </p:sp>
      <p:sp>
        <p:nvSpPr>
          <p:cNvPr id="8" name="Sisällön paikkamerkki 7"/>
          <p:cNvSpPr>
            <a:spLocks noGrp="1"/>
          </p:cNvSpPr>
          <p:nvPr>
            <p:ph sz="quarter" idx="13"/>
          </p:nvPr>
        </p:nvSpPr>
        <p:spPr>
          <a:xfrm>
            <a:off x="479424" y="1628800"/>
            <a:ext cx="11233151" cy="4321175"/>
          </a:xfrm>
        </p:spPr>
        <p:txBody>
          <a:bodyPr/>
          <a:lstStyle>
            <a:lvl1pPr>
              <a:spcBef>
                <a:spcPts val="0"/>
              </a:spcBef>
              <a:spcAft>
                <a:spcPts val="1200"/>
              </a:spcAft>
              <a:defRPr sz="2800">
                <a:latin typeface="+mn-lt"/>
              </a:defRPr>
            </a:lvl1pPr>
            <a:lvl2pPr>
              <a:spcBef>
                <a:spcPts val="0"/>
              </a:spcBef>
              <a:spcAft>
                <a:spcPts val="1200"/>
              </a:spcAft>
              <a:defRPr>
                <a:latin typeface="+mn-lt"/>
              </a:defRPr>
            </a:lvl2pPr>
            <a:lvl3pPr>
              <a:spcBef>
                <a:spcPts val="0"/>
              </a:spcBef>
              <a:spcAft>
                <a:spcPts val="1200"/>
              </a:spcAft>
              <a:defRPr>
                <a:latin typeface="+mn-lt"/>
              </a:defRPr>
            </a:lvl3pPr>
            <a:lvl4pPr>
              <a:spcAft>
                <a:spcPts val="1200"/>
              </a:spcAft>
              <a:defRPr>
                <a:latin typeface="+mn-lt"/>
              </a:defRPr>
            </a:lvl4pPr>
            <a:lvl5pPr marL="684000" indent="0">
              <a:spcAft>
                <a:spcPts val="1200"/>
              </a:spcAft>
              <a:buNone/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22687093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Otsikko ja sisältö_2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fi-FI"/>
              <a:t>Muokkaa perustyyliä napsauttamalla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479425" y="1628775"/>
            <a:ext cx="11233150" cy="4321175"/>
          </a:xfrm>
        </p:spPr>
        <p:txBody>
          <a:bodyPr numCol="2" spcCol="720000"/>
          <a:lstStyle>
            <a:lvl1pPr marL="216000" indent="-216000">
              <a:defRPr sz="2800">
                <a:latin typeface="+mn-lt"/>
              </a:defRPr>
            </a:lvl1pPr>
            <a:lvl2pPr indent="-216000">
              <a:defRPr>
                <a:latin typeface="+mn-lt"/>
              </a:defRPr>
            </a:lvl2pPr>
            <a:lvl3pPr indent="-216000">
              <a:defRPr>
                <a:latin typeface="+mn-lt"/>
              </a:defRPr>
            </a:lvl3pPr>
            <a:lvl4pPr indent="-216000">
              <a:defRPr>
                <a:latin typeface="+mn-lt"/>
              </a:defRPr>
            </a:lvl4pPr>
            <a:lvl5pPr indent="-216000"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34860592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 ja sisältö_4 kuvapaikk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479425" y="333375"/>
            <a:ext cx="5472113" cy="923925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/>
              <a:t>Muokkaa perustyyliä napsauttamalla</a:t>
            </a:r>
          </a:p>
        </p:txBody>
      </p:sp>
      <p:sp>
        <p:nvSpPr>
          <p:cNvPr id="15" name="Tekstin paikkamerkki 14"/>
          <p:cNvSpPr>
            <a:spLocks noGrp="1"/>
          </p:cNvSpPr>
          <p:nvPr>
            <p:ph type="body" sz="quarter" idx="17"/>
          </p:nvPr>
        </p:nvSpPr>
        <p:spPr>
          <a:xfrm>
            <a:off x="479425" y="1628775"/>
            <a:ext cx="5472113" cy="431165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Kuvan paikkamerkki 7"/>
          <p:cNvSpPr>
            <a:spLocks noGrp="1" noChangeAspect="1"/>
          </p:cNvSpPr>
          <p:nvPr>
            <p:ph type="pic" sz="quarter" idx="13"/>
          </p:nvPr>
        </p:nvSpPr>
        <p:spPr>
          <a:xfrm>
            <a:off x="6240462" y="332656"/>
            <a:ext cx="2628000" cy="262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+mn-lt"/>
              </a:defRPr>
            </a:lvl1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0" name="Kuvan paikkamerkki 7"/>
          <p:cNvSpPr>
            <a:spLocks noGrp="1" noChangeAspect="1"/>
          </p:cNvSpPr>
          <p:nvPr>
            <p:ph type="pic" sz="quarter" idx="14"/>
          </p:nvPr>
        </p:nvSpPr>
        <p:spPr>
          <a:xfrm>
            <a:off x="9192636" y="332656"/>
            <a:ext cx="2628000" cy="262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+mn-lt"/>
              </a:defRPr>
            </a:lvl1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1" name="Kuvan paikkamerkki 7"/>
          <p:cNvSpPr>
            <a:spLocks noGrp="1" noChangeAspect="1"/>
          </p:cNvSpPr>
          <p:nvPr>
            <p:ph type="pic" sz="quarter" idx="15"/>
          </p:nvPr>
        </p:nvSpPr>
        <p:spPr>
          <a:xfrm>
            <a:off x="6240462" y="3312596"/>
            <a:ext cx="2628000" cy="262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+mn-lt"/>
              </a:defRPr>
            </a:lvl1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2" name="Kuvan paikkamerkki 7"/>
          <p:cNvSpPr>
            <a:spLocks noGrp="1" noChangeAspect="1"/>
          </p:cNvSpPr>
          <p:nvPr>
            <p:ph type="pic" sz="quarter" idx="16"/>
          </p:nvPr>
        </p:nvSpPr>
        <p:spPr>
          <a:xfrm>
            <a:off x="9192636" y="3312596"/>
            <a:ext cx="2628000" cy="262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+mn-lt"/>
              </a:defRPr>
            </a:lvl1pPr>
          </a:lstStyle>
          <a:p>
            <a:r>
              <a:rPr lang="fi-FI"/>
              <a:t>Lisää kuva napsauttamalla kuvaketta</a:t>
            </a:r>
          </a:p>
        </p:txBody>
      </p:sp>
    </p:spTree>
    <p:extLst>
      <p:ext uri="{BB962C8B-B14F-4D97-AF65-F5344CB8AC3E}">
        <p14:creationId xmlns:p14="http://schemas.microsoft.com/office/powerpoint/2010/main" val="16923940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, sisältö, kuvapaikk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479424" y="333375"/>
            <a:ext cx="5472113" cy="923925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/>
              <a:t>Muokkaa perustyyliä napsauttamalla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15"/>
          </p:nvPr>
        </p:nvSpPr>
        <p:spPr>
          <a:xfrm>
            <a:off x="479424" y="1628775"/>
            <a:ext cx="5472114" cy="43211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4" name="Kuvan paikkamerkki 3"/>
          <p:cNvSpPr>
            <a:spLocks noGrp="1"/>
          </p:cNvSpPr>
          <p:nvPr>
            <p:ph type="pic" sz="quarter" idx="16"/>
          </p:nvPr>
        </p:nvSpPr>
        <p:spPr>
          <a:xfrm>
            <a:off x="6240463" y="0"/>
            <a:ext cx="5951536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fi-FI"/>
              <a:t>Lisää kuva napsauttamalla kuvaketta</a:t>
            </a:r>
          </a:p>
        </p:txBody>
      </p:sp>
    </p:spTree>
    <p:extLst>
      <p:ext uri="{BB962C8B-B14F-4D97-AF65-F5344CB8AC3E}">
        <p14:creationId xmlns:p14="http://schemas.microsoft.com/office/powerpoint/2010/main" val="20177850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Otsikko, sisältö, kuvapaikk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6240510" y="333375"/>
            <a:ext cx="5472113" cy="923925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/>
              <a:t>Muokkaa perustyyliä napsauttamalla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15"/>
          </p:nvPr>
        </p:nvSpPr>
        <p:spPr>
          <a:xfrm>
            <a:off x="6240510" y="1628775"/>
            <a:ext cx="5472114" cy="43211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4" name="Kuvan paikkamerkki 3"/>
          <p:cNvSpPr>
            <a:spLocks noGrp="1"/>
          </p:cNvSpPr>
          <p:nvPr>
            <p:ph type="pic" sz="quarter" idx="16"/>
          </p:nvPr>
        </p:nvSpPr>
        <p:spPr>
          <a:xfrm>
            <a:off x="2" y="0"/>
            <a:ext cx="5951536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fi-FI"/>
              <a:t>Lisää kuva napsauttamalla kuvaketta</a:t>
            </a: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30FB90F6-6D35-4849-B924-ACF4E2E077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72575" y="6237288"/>
            <a:ext cx="1440000" cy="425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1580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Otsikko, sisältö, kuvapaikk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Kuvan paikkamerkki 19"/>
          <p:cNvSpPr>
            <a:spLocks noGrp="1"/>
          </p:cNvSpPr>
          <p:nvPr>
            <p:ph type="pic" sz="quarter" idx="13"/>
          </p:nvPr>
        </p:nvSpPr>
        <p:spPr>
          <a:xfrm>
            <a:off x="-9291" y="0"/>
            <a:ext cx="5490303" cy="6858000"/>
          </a:xfrm>
          <a:custGeom>
            <a:avLst/>
            <a:gdLst>
              <a:gd name="connsiteX0" fmla="*/ 0 w 6853504"/>
              <a:gd name="connsiteY0" fmla="*/ 0 h 6853504"/>
              <a:gd name="connsiteX1" fmla="*/ 3426752 w 6853504"/>
              <a:gd name="connsiteY1" fmla="*/ 0 h 6853504"/>
              <a:gd name="connsiteX2" fmla="*/ 6853504 w 6853504"/>
              <a:gd name="connsiteY2" fmla="*/ 3426752 h 6853504"/>
              <a:gd name="connsiteX3" fmla="*/ 3426752 w 6853504"/>
              <a:gd name="connsiteY3" fmla="*/ 6853504 h 6853504"/>
              <a:gd name="connsiteX4" fmla="*/ 0 w 6853504"/>
              <a:gd name="connsiteY4" fmla="*/ 6853504 h 6853504"/>
              <a:gd name="connsiteX5" fmla="*/ 0 w 6853504"/>
              <a:gd name="connsiteY5" fmla="*/ 0 h 6853504"/>
              <a:gd name="connsiteX0" fmla="*/ 1347537 w 6853504"/>
              <a:gd name="connsiteY0" fmla="*/ 0 h 6865535"/>
              <a:gd name="connsiteX1" fmla="*/ 3426752 w 6853504"/>
              <a:gd name="connsiteY1" fmla="*/ 12031 h 6865535"/>
              <a:gd name="connsiteX2" fmla="*/ 6853504 w 6853504"/>
              <a:gd name="connsiteY2" fmla="*/ 3438783 h 6865535"/>
              <a:gd name="connsiteX3" fmla="*/ 3426752 w 6853504"/>
              <a:gd name="connsiteY3" fmla="*/ 6865535 h 6865535"/>
              <a:gd name="connsiteX4" fmla="*/ 0 w 6853504"/>
              <a:gd name="connsiteY4" fmla="*/ 6865535 h 6865535"/>
              <a:gd name="connsiteX5" fmla="*/ 1347537 w 6853504"/>
              <a:gd name="connsiteY5" fmla="*/ 0 h 6865535"/>
              <a:gd name="connsiteX0" fmla="*/ 0 w 5505967"/>
              <a:gd name="connsiteY0" fmla="*/ 0 h 6877567"/>
              <a:gd name="connsiteX1" fmla="*/ 2079215 w 5505967"/>
              <a:gd name="connsiteY1" fmla="*/ 12031 h 6877567"/>
              <a:gd name="connsiteX2" fmla="*/ 5505967 w 5505967"/>
              <a:gd name="connsiteY2" fmla="*/ 3438783 h 6877567"/>
              <a:gd name="connsiteX3" fmla="*/ 2079215 w 5505967"/>
              <a:gd name="connsiteY3" fmla="*/ 6865535 h 6877567"/>
              <a:gd name="connsiteX4" fmla="*/ 12031 w 5505967"/>
              <a:gd name="connsiteY4" fmla="*/ 6877567 h 6877567"/>
              <a:gd name="connsiteX5" fmla="*/ 0 w 5505967"/>
              <a:gd name="connsiteY5" fmla="*/ 0 h 6877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05967" h="6877567">
                <a:moveTo>
                  <a:pt x="0" y="0"/>
                </a:moveTo>
                <a:lnTo>
                  <a:pt x="2079215" y="12031"/>
                </a:lnTo>
                <a:cubicBezTo>
                  <a:pt x="3971758" y="12031"/>
                  <a:pt x="5505967" y="1546240"/>
                  <a:pt x="5505967" y="3438783"/>
                </a:cubicBezTo>
                <a:cubicBezTo>
                  <a:pt x="5505967" y="5331326"/>
                  <a:pt x="3971758" y="6865535"/>
                  <a:pt x="2079215" y="6865535"/>
                </a:cubicBezTo>
                <a:lnTo>
                  <a:pt x="12031" y="6877567"/>
                </a:lnTo>
                <a:cubicBezTo>
                  <a:pt x="8021" y="4585045"/>
                  <a:pt x="4010" y="2292522"/>
                  <a:pt x="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200">
                <a:latin typeface="+mn-lt"/>
              </a:defRPr>
            </a:lvl1pPr>
          </a:lstStyle>
          <a:p>
            <a:r>
              <a:rPr lang="fi-FI"/>
              <a:t>Lisää kuva napsauttamalla kuvaketta</a:t>
            </a:r>
          </a:p>
        </p:txBody>
      </p:sp>
      <p:pic>
        <p:nvPicPr>
          <p:cNvPr id="9" name="Kuva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72575" y="6237288"/>
            <a:ext cx="1440000" cy="425694"/>
          </a:xfrm>
          <a:prstGeom prst="rect">
            <a:avLst/>
          </a:prstGeom>
        </p:spPr>
      </p:pic>
      <p:sp>
        <p:nvSpPr>
          <p:cNvPr id="6" name="Otsikko 1">
            <a:extLst>
              <a:ext uri="{FF2B5EF4-FFF2-40B4-BE49-F238E27FC236}">
                <a16:creationId xmlns:a16="http://schemas.microsoft.com/office/drawing/2014/main" id="{7E4171C4-DD32-4377-8D67-FB1A197745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40463" y="333375"/>
            <a:ext cx="5472113" cy="923925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/>
              <a:t>Muokkaa perustyyliä napsauttamalla</a:t>
            </a:r>
          </a:p>
        </p:txBody>
      </p:sp>
      <p:sp>
        <p:nvSpPr>
          <p:cNvPr id="7" name="Tekstin paikkamerkki 10">
            <a:extLst>
              <a:ext uri="{FF2B5EF4-FFF2-40B4-BE49-F238E27FC236}">
                <a16:creationId xmlns:a16="http://schemas.microsoft.com/office/drawing/2014/main" id="{B9E7CB1E-D677-4A67-854A-864FFD0F81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40464" y="1628775"/>
            <a:ext cx="5472112" cy="43211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9011206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Otsikko, sisältö, kuvapaikka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7248130" y="333375"/>
            <a:ext cx="4464446" cy="923925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/>
              <a:t>Muokkaa perustyyliä napsauttamalla</a:t>
            </a:r>
          </a:p>
        </p:txBody>
      </p:sp>
      <p:sp>
        <p:nvSpPr>
          <p:cNvPr id="11" name="Tekstin paikkamerkki 10"/>
          <p:cNvSpPr>
            <a:spLocks noGrp="1"/>
          </p:cNvSpPr>
          <p:nvPr>
            <p:ph type="body" sz="quarter" idx="14"/>
          </p:nvPr>
        </p:nvSpPr>
        <p:spPr>
          <a:xfrm>
            <a:off x="7248130" y="1628775"/>
            <a:ext cx="4464445" cy="43211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9" name="Kuvan paikkamerkki 19"/>
          <p:cNvSpPr>
            <a:spLocks noGrp="1"/>
          </p:cNvSpPr>
          <p:nvPr>
            <p:ph type="pic" sz="quarter" idx="13"/>
          </p:nvPr>
        </p:nvSpPr>
        <p:spPr>
          <a:xfrm>
            <a:off x="0" y="4497"/>
            <a:ext cx="6853504" cy="6853504"/>
          </a:xfrm>
          <a:prstGeom prst="flowChartDelay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200">
                <a:latin typeface="+mn-lt"/>
              </a:defRPr>
            </a:lvl1pPr>
          </a:lstStyle>
          <a:p>
            <a:r>
              <a:rPr lang="fi-FI"/>
              <a:t>Lisää kuva napsauttamalla kuvaketta</a:t>
            </a:r>
          </a:p>
        </p:txBody>
      </p:sp>
      <p:pic>
        <p:nvPicPr>
          <p:cNvPr id="10" name="Kuva 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72575" y="6237288"/>
            <a:ext cx="1440000" cy="425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89959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_1pal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/>
              <a:t>Muokkaa perustyyliä napsauttamalla</a:t>
            </a:r>
          </a:p>
        </p:txBody>
      </p:sp>
      <p:sp>
        <p:nvSpPr>
          <p:cNvPr id="8" name="Sisällön paikkamerkki 7"/>
          <p:cNvSpPr>
            <a:spLocks noGrp="1"/>
          </p:cNvSpPr>
          <p:nvPr>
            <p:ph sz="quarter" idx="13"/>
          </p:nvPr>
        </p:nvSpPr>
        <p:spPr>
          <a:xfrm>
            <a:off x="479424" y="1628800"/>
            <a:ext cx="11233151" cy="4321175"/>
          </a:xfrm>
        </p:spPr>
        <p:txBody>
          <a:bodyPr/>
          <a:lstStyle>
            <a:lvl1pPr>
              <a:spcBef>
                <a:spcPts val="0"/>
              </a:spcBef>
              <a:spcAft>
                <a:spcPts val="1200"/>
              </a:spcAft>
              <a:defRPr sz="2800">
                <a:latin typeface="+mn-lt"/>
              </a:defRPr>
            </a:lvl1pPr>
            <a:lvl2pPr>
              <a:spcBef>
                <a:spcPts val="0"/>
              </a:spcBef>
              <a:spcAft>
                <a:spcPts val="1200"/>
              </a:spcAft>
              <a:defRPr>
                <a:latin typeface="+mn-lt"/>
              </a:defRPr>
            </a:lvl2pPr>
            <a:lvl3pPr>
              <a:spcBef>
                <a:spcPts val="0"/>
              </a:spcBef>
              <a:spcAft>
                <a:spcPts val="1200"/>
              </a:spcAft>
              <a:defRPr>
                <a:latin typeface="+mn-lt"/>
              </a:defRPr>
            </a:lvl3pPr>
            <a:lvl4pPr>
              <a:spcAft>
                <a:spcPts val="1200"/>
              </a:spcAft>
              <a:defRPr>
                <a:latin typeface="+mn-lt"/>
              </a:defRPr>
            </a:lvl4pPr>
            <a:lvl5pPr marL="684000" indent="0">
              <a:spcAft>
                <a:spcPts val="1200"/>
              </a:spcAft>
              <a:buNone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05300936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 ja sisältö_pattern-kuvapa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479425" y="333375"/>
            <a:ext cx="7524750" cy="923925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/>
              <a:t>Muokkaa perustyyliä napsauttamalla</a:t>
            </a:r>
          </a:p>
        </p:txBody>
      </p:sp>
      <p:sp>
        <p:nvSpPr>
          <p:cNvPr id="9" name="Tekstin paikkamerkki 8"/>
          <p:cNvSpPr>
            <a:spLocks noGrp="1"/>
          </p:cNvSpPr>
          <p:nvPr>
            <p:ph type="body" sz="quarter" idx="14"/>
          </p:nvPr>
        </p:nvSpPr>
        <p:spPr>
          <a:xfrm>
            <a:off x="479425" y="1628775"/>
            <a:ext cx="5616575" cy="43211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7" name="Kuvan paikkamerkki 58"/>
          <p:cNvSpPr>
            <a:spLocks noGrp="1"/>
          </p:cNvSpPr>
          <p:nvPr>
            <p:ph type="pic" sz="quarter" idx="13"/>
          </p:nvPr>
        </p:nvSpPr>
        <p:spPr>
          <a:xfrm>
            <a:off x="6646461" y="-538"/>
            <a:ext cx="5546031" cy="6864730"/>
          </a:xfrm>
          <a:custGeom>
            <a:avLst/>
            <a:gdLst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76000 h 6876000"/>
              <a:gd name="connsiteX15" fmla="*/ 2649648 w 5545537"/>
              <a:gd name="connsiteY15" fmla="*/ 6858537 h 6876000"/>
              <a:gd name="connsiteX16" fmla="*/ 2617891 w 5545537"/>
              <a:gd name="connsiteY16" fmla="*/ 6858537 h 6876000"/>
              <a:gd name="connsiteX17" fmla="*/ 2617891 w 5545537"/>
              <a:gd name="connsiteY17" fmla="*/ 6876000 h 6876000"/>
              <a:gd name="connsiteX18" fmla="*/ 1609779 w 5545537"/>
              <a:gd name="connsiteY18" fmla="*/ 6876000 h 6876000"/>
              <a:gd name="connsiteX19" fmla="*/ 1609779 w 5545537"/>
              <a:gd name="connsiteY19" fmla="*/ 6858537 h 6876000"/>
              <a:gd name="connsiteX20" fmla="*/ 1069719 w 5545537"/>
              <a:gd name="connsiteY20" fmla="*/ 6858537 h 6876000"/>
              <a:gd name="connsiteX21" fmla="*/ 1069719 w 5545537"/>
              <a:gd name="connsiteY21" fmla="*/ 6318334 h 6876000"/>
              <a:gd name="connsiteX22" fmla="*/ 1069720 w 5545537"/>
              <a:gd name="connsiteY22" fmla="*/ 6318321 h 6876000"/>
              <a:gd name="connsiteX23" fmla="*/ 1069719 w 5545537"/>
              <a:gd name="connsiteY23" fmla="*/ 6318310 h 6876000"/>
              <a:gd name="connsiteX24" fmla="*/ 1069719 w 5545537"/>
              <a:gd name="connsiteY24" fmla="*/ 6237825 h 6876000"/>
              <a:gd name="connsiteX25" fmla="*/ 1062618 w 5545537"/>
              <a:gd name="connsiteY25" fmla="*/ 6237825 h 6876000"/>
              <a:gd name="connsiteX26" fmla="*/ 1061010 w 5545537"/>
              <a:gd name="connsiteY26" fmla="*/ 6219603 h 6876000"/>
              <a:gd name="connsiteX27" fmla="*/ 624433 w 5545537"/>
              <a:gd name="connsiteY27" fmla="*/ 5771972 h 6876000"/>
              <a:gd name="connsiteX28" fmla="*/ 529659 w 5545537"/>
              <a:gd name="connsiteY28" fmla="*/ 5762418 h 6876000"/>
              <a:gd name="connsiteX29" fmla="*/ 529659 w 5545537"/>
              <a:gd name="connsiteY29" fmla="*/ 5760642 h 6876000"/>
              <a:gd name="connsiteX30" fmla="*/ 512040 w 5545537"/>
              <a:gd name="connsiteY30" fmla="*/ 5760642 h 6876000"/>
              <a:gd name="connsiteX31" fmla="*/ 512040 w 5545537"/>
              <a:gd name="connsiteY31" fmla="*/ 5743975 h 6876000"/>
              <a:gd name="connsiteX32" fmla="*/ 426816 w 5545537"/>
              <a:gd name="connsiteY32" fmla="*/ 5735384 h 6876000"/>
              <a:gd name="connsiteX33" fmla="*/ 9971 w 5545537"/>
              <a:gd name="connsiteY33" fmla="*/ 5223932 h 6876000"/>
              <a:gd name="connsiteX34" fmla="*/ 426816 w 5545537"/>
              <a:gd name="connsiteY34" fmla="*/ 4712481 h 6876000"/>
              <a:gd name="connsiteX35" fmla="*/ 512040 w 5545537"/>
              <a:gd name="connsiteY35" fmla="*/ 4703889 h 6876000"/>
              <a:gd name="connsiteX36" fmla="*/ 512040 w 5545537"/>
              <a:gd name="connsiteY36" fmla="*/ 4703511 h 6876000"/>
              <a:gd name="connsiteX37" fmla="*/ 423086 w 5545537"/>
              <a:gd name="connsiteY37" fmla="*/ 4694544 h 6876000"/>
              <a:gd name="connsiteX38" fmla="*/ 0 w 5545537"/>
              <a:gd name="connsiteY38" fmla="*/ 4175435 h 6876000"/>
              <a:gd name="connsiteX39" fmla="*/ 529874 w 5545537"/>
              <a:gd name="connsiteY39" fmla="*/ 3645561 h 6876000"/>
              <a:gd name="connsiteX40" fmla="*/ 1048983 w 5545537"/>
              <a:gd name="connsiteY40" fmla="*/ 4068647 h 6876000"/>
              <a:gd name="connsiteX41" fmla="*/ 1057146 w 5545537"/>
              <a:gd name="connsiteY41" fmla="*/ 4149617 h 6876000"/>
              <a:gd name="connsiteX42" fmla="*/ 1069719 w 5545537"/>
              <a:gd name="connsiteY42" fmla="*/ 4149617 h 6876000"/>
              <a:gd name="connsiteX43" fmla="*/ 1069719 w 5545537"/>
              <a:gd name="connsiteY43" fmla="*/ 4620012 h 6876000"/>
              <a:gd name="connsiteX44" fmla="*/ 1095113 w 5545537"/>
              <a:gd name="connsiteY44" fmla="*/ 4538207 h 6876000"/>
              <a:gd name="connsiteX45" fmla="*/ 1576145 w 5545537"/>
              <a:gd name="connsiteY45" fmla="*/ 4219357 h 6876000"/>
              <a:gd name="connsiteX46" fmla="*/ 1609779 w 5545537"/>
              <a:gd name="connsiteY46" fmla="*/ 4222748 h 6876000"/>
              <a:gd name="connsiteX47" fmla="*/ 1609779 w 5545537"/>
              <a:gd name="connsiteY47" fmla="*/ 4205666 h 6876000"/>
              <a:gd name="connsiteX48" fmla="*/ 1577115 w 5545537"/>
              <a:gd name="connsiteY48" fmla="*/ 4208959 h 6876000"/>
              <a:gd name="connsiteX49" fmla="*/ 1055057 w 5545537"/>
              <a:gd name="connsiteY49" fmla="*/ 3686901 h 6876000"/>
              <a:gd name="connsiteX50" fmla="*/ 1577115 w 5545537"/>
              <a:gd name="connsiteY50" fmla="*/ 3164843 h 6876000"/>
              <a:gd name="connsiteX51" fmla="*/ 2088567 w 5545537"/>
              <a:gd name="connsiteY51" fmla="*/ 3581688 h 6876000"/>
              <a:gd name="connsiteX52" fmla="*/ 2098635 w 5545537"/>
              <a:gd name="connsiteY52" fmla="*/ 3681565 h 6876000"/>
              <a:gd name="connsiteX53" fmla="*/ 2113837 w 5545537"/>
              <a:gd name="connsiteY53" fmla="*/ 3681565 h 6876000"/>
              <a:gd name="connsiteX54" fmla="*/ 2113837 w 5545537"/>
              <a:gd name="connsiteY54" fmla="*/ 2637449 h 6876000"/>
              <a:gd name="connsiteX55" fmla="*/ 2114775 w 5545537"/>
              <a:gd name="connsiteY55" fmla="*/ 2637449 h 6876000"/>
              <a:gd name="connsiteX56" fmla="*/ 2113835 w 5545537"/>
              <a:gd name="connsiteY56" fmla="*/ 2628122 h 6876000"/>
              <a:gd name="connsiteX57" fmla="*/ 2635893 w 5545537"/>
              <a:gd name="connsiteY57" fmla="*/ 2106064 h 6876000"/>
              <a:gd name="connsiteX58" fmla="*/ 2649648 w 5545537"/>
              <a:gd name="connsiteY58" fmla="*/ 2107451 h 6876000"/>
              <a:gd name="connsiteX59" fmla="*/ 2649648 w 5545537"/>
              <a:gd name="connsiteY59" fmla="*/ 2090015 h 6876000"/>
              <a:gd name="connsiteX60" fmla="*/ 2635894 w 5545537"/>
              <a:gd name="connsiteY60" fmla="*/ 2091401 h 6876000"/>
              <a:gd name="connsiteX61" fmla="*/ 2113836 w 5545537"/>
              <a:gd name="connsiteY61" fmla="*/ 1569343 h 6876000"/>
              <a:gd name="connsiteX62" fmla="*/ 2635894 w 5545537"/>
              <a:gd name="connsiteY62" fmla="*/ 1047285 h 6876000"/>
              <a:gd name="connsiteX63" fmla="*/ 2649648 w 5545537"/>
              <a:gd name="connsiteY63" fmla="*/ 1048672 h 6876000"/>
              <a:gd name="connsiteX64" fmla="*/ 2649648 w 5545537"/>
              <a:gd name="connsiteY64" fmla="*/ 1043268 h 6876000"/>
              <a:gd name="connsiteX65" fmla="*/ 2689899 w 5545537"/>
              <a:gd name="connsiteY65" fmla="*/ 1039210 h 6876000"/>
              <a:gd name="connsiteX66" fmla="*/ 2689899 w 5545537"/>
              <a:gd name="connsiteY66" fmla="*/ 1038672 h 6876000"/>
              <a:gd name="connsiteX67" fmla="*/ 2635893 w 5545537"/>
              <a:gd name="connsiteY67" fmla="*/ 1044116 h 6876000"/>
              <a:gd name="connsiteX68" fmla="*/ 2113835 w 5545537"/>
              <a:gd name="connsiteY68" fmla="*/ 522058 h 6876000"/>
              <a:gd name="connsiteX69" fmla="*/ 2635893 w 5545537"/>
              <a:gd name="connsiteY69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76000 h 6876000"/>
              <a:gd name="connsiteX15" fmla="*/ 2649648 w 5545537"/>
              <a:gd name="connsiteY15" fmla="*/ 6858537 h 6876000"/>
              <a:gd name="connsiteX16" fmla="*/ 2617891 w 5545537"/>
              <a:gd name="connsiteY16" fmla="*/ 6858537 h 6876000"/>
              <a:gd name="connsiteX17" fmla="*/ 2617891 w 5545537"/>
              <a:gd name="connsiteY17" fmla="*/ 6876000 h 6876000"/>
              <a:gd name="connsiteX18" fmla="*/ 1609779 w 5545537"/>
              <a:gd name="connsiteY18" fmla="*/ 6876000 h 6876000"/>
              <a:gd name="connsiteX19" fmla="*/ 1609779 w 5545537"/>
              <a:gd name="connsiteY19" fmla="*/ 6858537 h 6876000"/>
              <a:gd name="connsiteX20" fmla="*/ 1069719 w 5545537"/>
              <a:gd name="connsiteY20" fmla="*/ 6858537 h 6876000"/>
              <a:gd name="connsiteX21" fmla="*/ 1069719 w 5545537"/>
              <a:gd name="connsiteY21" fmla="*/ 6318334 h 6876000"/>
              <a:gd name="connsiteX22" fmla="*/ 1069720 w 5545537"/>
              <a:gd name="connsiteY22" fmla="*/ 6318321 h 6876000"/>
              <a:gd name="connsiteX23" fmla="*/ 1069719 w 5545537"/>
              <a:gd name="connsiteY23" fmla="*/ 6318310 h 6876000"/>
              <a:gd name="connsiteX24" fmla="*/ 1069719 w 5545537"/>
              <a:gd name="connsiteY24" fmla="*/ 6237825 h 6876000"/>
              <a:gd name="connsiteX25" fmla="*/ 1062618 w 5545537"/>
              <a:gd name="connsiteY25" fmla="*/ 6237825 h 6876000"/>
              <a:gd name="connsiteX26" fmla="*/ 1061010 w 5545537"/>
              <a:gd name="connsiteY26" fmla="*/ 6219603 h 6876000"/>
              <a:gd name="connsiteX27" fmla="*/ 624433 w 5545537"/>
              <a:gd name="connsiteY27" fmla="*/ 5771972 h 6876000"/>
              <a:gd name="connsiteX28" fmla="*/ 529659 w 5545537"/>
              <a:gd name="connsiteY28" fmla="*/ 5762418 h 6876000"/>
              <a:gd name="connsiteX29" fmla="*/ 529659 w 5545537"/>
              <a:gd name="connsiteY29" fmla="*/ 5760642 h 6876000"/>
              <a:gd name="connsiteX30" fmla="*/ 512040 w 5545537"/>
              <a:gd name="connsiteY30" fmla="*/ 5760642 h 6876000"/>
              <a:gd name="connsiteX31" fmla="*/ 512040 w 5545537"/>
              <a:gd name="connsiteY31" fmla="*/ 5743975 h 6876000"/>
              <a:gd name="connsiteX32" fmla="*/ 426816 w 5545537"/>
              <a:gd name="connsiteY32" fmla="*/ 5735384 h 6876000"/>
              <a:gd name="connsiteX33" fmla="*/ 9971 w 5545537"/>
              <a:gd name="connsiteY33" fmla="*/ 5223932 h 6876000"/>
              <a:gd name="connsiteX34" fmla="*/ 426816 w 5545537"/>
              <a:gd name="connsiteY34" fmla="*/ 4712481 h 6876000"/>
              <a:gd name="connsiteX35" fmla="*/ 512040 w 5545537"/>
              <a:gd name="connsiteY35" fmla="*/ 4703889 h 6876000"/>
              <a:gd name="connsiteX36" fmla="*/ 512040 w 5545537"/>
              <a:gd name="connsiteY36" fmla="*/ 4703511 h 6876000"/>
              <a:gd name="connsiteX37" fmla="*/ 423086 w 5545537"/>
              <a:gd name="connsiteY37" fmla="*/ 4694544 h 6876000"/>
              <a:gd name="connsiteX38" fmla="*/ 0 w 5545537"/>
              <a:gd name="connsiteY38" fmla="*/ 4175435 h 6876000"/>
              <a:gd name="connsiteX39" fmla="*/ 529874 w 5545537"/>
              <a:gd name="connsiteY39" fmla="*/ 3645561 h 6876000"/>
              <a:gd name="connsiteX40" fmla="*/ 1048983 w 5545537"/>
              <a:gd name="connsiteY40" fmla="*/ 4068647 h 6876000"/>
              <a:gd name="connsiteX41" fmla="*/ 1057146 w 5545537"/>
              <a:gd name="connsiteY41" fmla="*/ 4149617 h 6876000"/>
              <a:gd name="connsiteX42" fmla="*/ 1066307 w 5545537"/>
              <a:gd name="connsiteY42" fmla="*/ 4347509 h 6876000"/>
              <a:gd name="connsiteX43" fmla="*/ 1069719 w 5545537"/>
              <a:gd name="connsiteY43" fmla="*/ 4620012 h 6876000"/>
              <a:gd name="connsiteX44" fmla="*/ 1095113 w 5545537"/>
              <a:gd name="connsiteY44" fmla="*/ 4538207 h 6876000"/>
              <a:gd name="connsiteX45" fmla="*/ 1576145 w 5545537"/>
              <a:gd name="connsiteY45" fmla="*/ 4219357 h 6876000"/>
              <a:gd name="connsiteX46" fmla="*/ 1609779 w 5545537"/>
              <a:gd name="connsiteY46" fmla="*/ 4222748 h 6876000"/>
              <a:gd name="connsiteX47" fmla="*/ 1609779 w 5545537"/>
              <a:gd name="connsiteY47" fmla="*/ 4205666 h 6876000"/>
              <a:gd name="connsiteX48" fmla="*/ 1577115 w 5545537"/>
              <a:gd name="connsiteY48" fmla="*/ 4208959 h 6876000"/>
              <a:gd name="connsiteX49" fmla="*/ 1055057 w 5545537"/>
              <a:gd name="connsiteY49" fmla="*/ 3686901 h 6876000"/>
              <a:gd name="connsiteX50" fmla="*/ 1577115 w 5545537"/>
              <a:gd name="connsiteY50" fmla="*/ 3164843 h 6876000"/>
              <a:gd name="connsiteX51" fmla="*/ 2088567 w 5545537"/>
              <a:gd name="connsiteY51" fmla="*/ 3581688 h 6876000"/>
              <a:gd name="connsiteX52" fmla="*/ 2098635 w 5545537"/>
              <a:gd name="connsiteY52" fmla="*/ 3681565 h 6876000"/>
              <a:gd name="connsiteX53" fmla="*/ 2113837 w 5545537"/>
              <a:gd name="connsiteY53" fmla="*/ 3681565 h 6876000"/>
              <a:gd name="connsiteX54" fmla="*/ 2113837 w 5545537"/>
              <a:gd name="connsiteY54" fmla="*/ 2637449 h 6876000"/>
              <a:gd name="connsiteX55" fmla="*/ 2114775 w 5545537"/>
              <a:gd name="connsiteY55" fmla="*/ 2637449 h 6876000"/>
              <a:gd name="connsiteX56" fmla="*/ 2113835 w 5545537"/>
              <a:gd name="connsiteY56" fmla="*/ 2628122 h 6876000"/>
              <a:gd name="connsiteX57" fmla="*/ 2635893 w 5545537"/>
              <a:gd name="connsiteY57" fmla="*/ 2106064 h 6876000"/>
              <a:gd name="connsiteX58" fmla="*/ 2649648 w 5545537"/>
              <a:gd name="connsiteY58" fmla="*/ 2107451 h 6876000"/>
              <a:gd name="connsiteX59" fmla="*/ 2649648 w 5545537"/>
              <a:gd name="connsiteY59" fmla="*/ 2090015 h 6876000"/>
              <a:gd name="connsiteX60" fmla="*/ 2635894 w 5545537"/>
              <a:gd name="connsiteY60" fmla="*/ 2091401 h 6876000"/>
              <a:gd name="connsiteX61" fmla="*/ 2113836 w 5545537"/>
              <a:gd name="connsiteY61" fmla="*/ 1569343 h 6876000"/>
              <a:gd name="connsiteX62" fmla="*/ 2635894 w 5545537"/>
              <a:gd name="connsiteY62" fmla="*/ 1047285 h 6876000"/>
              <a:gd name="connsiteX63" fmla="*/ 2649648 w 5545537"/>
              <a:gd name="connsiteY63" fmla="*/ 1048672 h 6876000"/>
              <a:gd name="connsiteX64" fmla="*/ 2649648 w 5545537"/>
              <a:gd name="connsiteY64" fmla="*/ 1043268 h 6876000"/>
              <a:gd name="connsiteX65" fmla="*/ 2689899 w 5545537"/>
              <a:gd name="connsiteY65" fmla="*/ 1039210 h 6876000"/>
              <a:gd name="connsiteX66" fmla="*/ 2689899 w 5545537"/>
              <a:gd name="connsiteY66" fmla="*/ 1038672 h 6876000"/>
              <a:gd name="connsiteX67" fmla="*/ 2635893 w 5545537"/>
              <a:gd name="connsiteY67" fmla="*/ 1044116 h 6876000"/>
              <a:gd name="connsiteX68" fmla="*/ 2113835 w 5545537"/>
              <a:gd name="connsiteY68" fmla="*/ 522058 h 6876000"/>
              <a:gd name="connsiteX69" fmla="*/ 2635893 w 5545537"/>
              <a:gd name="connsiteY69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76000 h 6876000"/>
              <a:gd name="connsiteX15" fmla="*/ 2649648 w 5545537"/>
              <a:gd name="connsiteY15" fmla="*/ 6858537 h 6876000"/>
              <a:gd name="connsiteX16" fmla="*/ 2617891 w 5545537"/>
              <a:gd name="connsiteY16" fmla="*/ 6858537 h 6876000"/>
              <a:gd name="connsiteX17" fmla="*/ 2617891 w 5545537"/>
              <a:gd name="connsiteY17" fmla="*/ 6876000 h 6876000"/>
              <a:gd name="connsiteX18" fmla="*/ 1609779 w 5545537"/>
              <a:gd name="connsiteY18" fmla="*/ 6876000 h 6876000"/>
              <a:gd name="connsiteX19" fmla="*/ 1609779 w 5545537"/>
              <a:gd name="connsiteY19" fmla="*/ 6858537 h 6876000"/>
              <a:gd name="connsiteX20" fmla="*/ 1069719 w 5545537"/>
              <a:gd name="connsiteY20" fmla="*/ 6858537 h 6876000"/>
              <a:gd name="connsiteX21" fmla="*/ 1069719 w 5545537"/>
              <a:gd name="connsiteY21" fmla="*/ 6318334 h 6876000"/>
              <a:gd name="connsiteX22" fmla="*/ 1069720 w 5545537"/>
              <a:gd name="connsiteY22" fmla="*/ 6318321 h 6876000"/>
              <a:gd name="connsiteX23" fmla="*/ 1069719 w 5545537"/>
              <a:gd name="connsiteY23" fmla="*/ 6318310 h 6876000"/>
              <a:gd name="connsiteX24" fmla="*/ 1069719 w 5545537"/>
              <a:gd name="connsiteY24" fmla="*/ 6237825 h 6876000"/>
              <a:gd name="connsiteX25" fmla="*/ 1062618 w 5545537"/>
              <a:gd name="connsiteY25" fmla="*/ 6237825 h 6876000"/>
              <a:gd name="connsiteX26" fmla="*/ 1061010 w 5545537"/>
              <a:gd name="connsiteY26" fmla="*/ 6219603 h 6876000"/>
              <a:gd name="connsiteX27" fmla="*/ 624433 w 5545537"/>
              <a:gd name="connsiteY27" fmla="*/ 5771972 h 6876000"/>
              <a:gd name="connsiteX28" fmla="*/ 529659 w 5545537"/>
              <a:gd name="connsiteY28" fmla="*/ 5762418 h 6876000"/>
              <a:gd name="connsiteX29" fmla="*/ 529659 w 5545537"/>
              <a:gd name="connsiteY29" fmla="*/ 5760642 h 6876000"/>
              <a:gd name="connsiteX30" fmla="*/ 512040 w 5545537"/>
              <a:gd name="connsiteY30" fmla="*/ 5760642 h 6876000"/>
              <a:gd name="connsiteX31" fmla="*/ 512040 w 5545537"/>
              <a:gd name="connsiteY31" fmla="*/ 5743975 h 6876000"/>
              <a:gd name="connsiteX32" fmla="*/ 426816 w 5545537"/>
              <a:gd name="connsiteY32" fmla="*/ 5735384 h 6876000"/>
              <a:gd name="connsiteX33" fmla="*/ 9971 w 5545537"/>
              <a:gd name="connsiteY33" fmla="*/ 5223932 h 6876000"/>
              <a:gd name="connsiteX34" fmla="*/ 426816 w 5545537"/>
              <a:gd name="connsiteY34" fmla="*/ 4712481 h 6876000"/>
              <a:gd name="connsiteX35" fmla="*/ 512040 w 5545537"/>
              <a:gd name="connsiteY35" fmla="*/ 4703889 h 6876000"/>
              <a:gd name="connsiteX36" fmla="*/ 512040 w 5545537"/>
              <a:gd name="connsiteY36" fmla="*/ 4703511 h 6876000"/>
              <a:gd name="connsiteX37" fmla="*/ 423086 w 5545537"/>
              <a:gd name="connsiteY37" fmla="*/ 4694544 h 6876000"/>
              <a:gd name="connsiteX38" fmla="*/ 0 w 5545537"/>
              <a:gd name="connsiteY38" fmla="*/ 4175435 h 6876000"/>
              <a:gd name="connsiteX39" fmla="*/ 529874 w 5545537"/>
              <a:gd name="connsiteY39" fmla="*/ 3645561 h 6876000"/>
              <a:gd name="connsiteX40" fmla="*/ 1048983 w 5545537"/>
              <a:gd name="connsiteY40" fmla="*/ 4068647 h 6876000"/>
              <a:gd name="connsiteX41" fmla="*/ 1057146 w 5545537"/>
              <a:gd name="connsiteY41" fmla="*/ 4149617 h 6876000"/>
              <a:gd name="connsiteX42" fmla="*/ 1066307 w 5545537"/>
              <a:gd name="connsiteY42" fmla="*/ 4347509 h 6876000"/>
              <a:gd name="connsiteX43" fmla="*/ 1069719 w 5545537"/>
              <a:gd name="connsiteY43" fmla="*/ 4620012 h 6876000"/>
              <a:gd name="connsiteX44" fmla="*/ 1095113 w 5545537"/>
              <a:gd name="connsiteY44" fmla="*/ 4538207 h 6876000"/>
              <a:gd name="connsiteX45" fmla="*/ 1576145 w 5545537"/>
              <a:gd name="connsiteY45" fmla="*/ 4219357 h 6876000"/>
              <a:gd name="connsiteX46" fmla="*/ 1609779 w 5545537"/>
              <a:gd name="connsiteY46" fmla="*/ 4222748 h 6876000"/>
              <a:gd name="connsiteX47" fmla="*/ 1609779 w 5545537"/>
              <a:gd name="connsiteY47" fmla="*/ 4205666 h 6876000"/>
              <a:gd name="connsiteX48" fmla="*/ 1577115 w 5545537"/>
              <a:gd name="connsiteY48" fmla="*/ 4208959 h 6876000"/>
              <a:gd name="connsiteX49" fmla="*/ 1055057 w 5545537"/>
              <a:gd name="connsiteY49" fmla="*/ 3686901 h 6876000"/>
              <a:gd name="connsiteX50" fmla="*/ 1577115 w 5545537"/>
              <a:gd name="connsiteY50" fmla="*/ 3164843 h 6876000"/>
              <a:gd name="connsiteX51" fmla="*/ 2088567 w 5545537"/>
              <a:gd name="connsiteY51" fmla="*/ 3581688 h 6876000"/>
              <a:gd name="connsiteX52" fmla="*/ 2098635 w 5545537"/>
              <a:gd name="connsiteY52" fmla="*/ 3681565 h 6876000"/>
              <a:gd name="connsiteX53" fmla="*/ 2113837 w 5545537"/>
              <a:gd name="connsiteY53" fmla="*/ 3681565 h 6876000"/>
              <a:gd name="connsiteX54" fmla="*/ 2113837 w 5545537"/>
              <a:gd name="connsiteY54" fmla="*/ 2637449 h 6876000"/>
              <a:gd name="connsiteX55" fmla="*/ 2114775 w 5545537"/>
              <a:gd name="connsiteY55" fmla="*/ 2637449 h 6876000"/>
              <a:gd name="connsiteX56" fmla="*/ 2113835 w 5545537"/>
              <a:gd name="connsiteY56" fmla="*/ 2628122 h 6876000"/>
              <a:gd name="connsiteX57" fmla="*/ 2635893 w 5545537"/>
              <a:gd name="connsiteY57" fmla="*/ 2106064 h 6876000"/>
              <a:gd name="connsiteX58" fmla="*/ 2649648 w 5545537"/>
              <a:gd name="connsiteY58" fmla="*/ 2107451 h 6876000"/>
              <a:gd name="connsiteX59" fmla="*/ 2649648 w 5545537"/>
              <a:gd name="connsiteY59" fmla="*/ 2090015 h 6876000"/>
              <a:gd name="connsiteX60" fmla="*/ 2635894 w 5545537"/>
              <a:gd name="connsiteY60" fmla="*/ 2091401 h 6876000"/>
              <a:gd name="connsiteX61" fmla="*/ 2113836 w 5545537"/>
              <a:gd name="connsiteY61" fmla="*/ 1569343 h 6876000"/>
              <a:gd name="connsiteX62" fmla="*/ 2635894 w 5545537"/>
              <a:gd name="connsiteY62" fmla="*/ 1047285 h 6876000"/>
              <a:gd name="connsiteX63" fmla="*/ 2649648 w 5545537"/>
              <a:gd name="connsiteY63" fmla="*/ 1048672 h 6876000"/>
              <a:gd name="connsiteX64" fmla="*/ 2649648 w 5545537"/>
              <a:gd name="connsiteY64" fmla="*/ 1043268 h 6876000"/>
              <a:gd name="connsiteX65" fmla="*/ 2689899 w 5545537"/>
              <a:gd name="connsiteY65" fmla="*/ 1039210 h 6876000"/>
              <a:gd name="connsiteX66" fmla="*/ 2689899 w 5545537"/>
              <a:gd name="connsiteY66" fmla="*/ 1038672 h 6876000"/>
              <a:gd name="connsiteX67" fmla="*/ 2635893 w 5545537"/>
              <a:gd name="connsiteY67" fmla="*/ 1044116 h 6876000"/>
              <a:gd name="connsiteX68" fmla="*/ 2113835 w 5545537"/>
              <a:gd name="connsiteY68" fmla="*/ 522058 h 6876000"/>
              <a:gd name="connsiteX69" fmla="*/ 2635893 w 5545537"/>
              <a:gd name="connsiteY69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76000 h 6876000"/>
              <a:gd name="connsiteX15" fmla="*/ 2649648 w 5545537"/>
              <a:gd name="connsiteY15" fmla="*/ 6858537 h 6876000"/>
              <a:gd name="connsiteX16" fmla="*/ 2617891 w 5545537"/>
              <a:gd name="connsiteY16" fmla="*/ 6858537 h 6876000"/>
              <a:gd name="connsiteX17" fmla="*/ 2617891 w 5545537"/>
              <a:gd name="connsiteY17" fmla="*/ 6876000 h 6876000"/>
              <a:gd name="connsiteX18" fmla="*/ 1609779 w 5545537"/>
              <a:gd name="connsiteY18" fmla="*/ 6858537 h 6876000"/>
              <a:gd name="connsiteX19" fmla="*/ 1069719 w 5545537"/>
              <a:gd name="connsiteY19" fmla="*/ 6858537 h 6876000"/>
              <a:gd name="connsiteX20" fmla="*/ 1069719 w 5545537"/>
              <a:gd name="connsiteY20" fmla="*/ 6318334 h 6876000"/>
              <a:gd name="connsiteX21" fmla="*/ 1069720 w 5545537"/>
              <a:gd name="connsiteY21" fmla="*/ 6318321 h 6876000"/>
              <a:gd name="connsiteX22" fmla="*/ 1069719 w 5545537"/>
              <a:gd name="connsiteY22" fmla="*/ 6318310 h 6876000"/>
              <a:gd name="connsiteX23" fmla="*/ 1069719 w 5545537"/>
              <a:gd name="connsiteY23" fmla="*/ 6237825 h 6876000"/>
              <a:gd name="connsiteX24" fmla="*/ 1062618 w 5545537"/>
              <a:gd name="connsiteY24" fmla="*/ 6237825 h 6876000"/>
              <a:gd name="connsiteX25" fmla="*/ 1061010 w 5545537"/>
              <a:gd name="connsiteY25" fmla="*/ 6219603 h 6876000"/>
              <a:gd name="connsiteX26" fmla="*/ 624433 w 5545537"/>
              <a:gd name="connsiteY26" fmla="*/ 5771972 h 6876000"/>
              <a:gd name="connsiteX27" fmla="*/ 529659 w 5545537"/>
              <a:gd name="connsiteY27" fmla="*/ 5762418 h 6876000"/>
              <a:gd name="connsiteX28" fmla="*/ 529659 w 5545537"/>
              <a:gd name="connsiteY28" fmla="*/ 5760642 h 6876000"/>
              <a:gd name="connsiteX29" fmla="*/ 512040 w 5545537"/>
              <a:gd name="connsiteY29" fmla="*/ 5760642 h 6876000"/>
              <a:gd name="connsiteX30" fmla="*/ 512040 w 5545537"/>
              <a:gd name="connsiteY30" fmla="*/ 5743975 h 6876000"/>
              <a:gd name="connsiteX31" fmla="*/ 426816 w 5545537"/>
              <a:gd name="connsiteY31" fmla="*/ 5735384 h 6876000"/>
              <a:gd name="connsiteX32" fmla="*/ 9971 w 5545537"/>
              <a:gd name="connsiteY32" fmla="*/ 5223932 h 6876000"/>
              <a:gd name="connsiteX33" fmla="*/ 426816 w 5545537"/>
              <a:gd name="connsiteY33" fmla="*/ 4712481 h 6876000"/>
              <a:gd name="connsiteX34" fmla="*/ 512040 w 5545537"/>
              <a:gd name="connsiteY34" fmla="*/ 4703889 h 6876000"/>
              <a:gd name="connsiteX35" fmla="*/ 512040 w 5545537"/>
              <a:gd name="connsiteY35" fmla="*/ 4703511 h 6876000"/>
              <a:gd name="connsiteX36" fmla="*/ 423086 w 5545537"/>
              <a:gd name="connsiteY36" fmla="*/ 4694544 h 6876000"/>
              <a:gd name="connsiteX37" fmla="*/ 0 w 5545537"/>
              <a:gd name="connsiteY37" fmla="*/ 4175435 h 6876000"/>
              <a:gd name="connsiteX38" fmla="*/ 529874 w 5545537"/>
              <a:gd name="connsiteY38" fmla="*/ 3645561 h 6876000"/>
              <a:gd name="connsiteX39" fmla="*/ 1048983 w 5545537"/>
              <a:gd name="connsiteY39" fmla="*/ 4068647 h 6876000"/>
              <a:gd name="connsiteX40" fmla="*/ 1057146 w 5545537"/>
              <a:gd name="connsiteY40" fmla="*/ 4149617 h 6876000"/>
              <a:gd name="connsiteX41" fmla="*/ 1066307 w 5545537"/>
              <a:gd name="connsiteY41" fmla="*/ 4347509 h 6876000"/>
              <a:gd name="connsiteX42" fmla="*/ 1069719 w 5545537"/>
              <a:gd name="connsiteY42" fmla="*/ 4620012 h 6876000"/>
              <a:gd name="connsiteX43" fmla="*/ 1095113 w 5545537"/>
              <a:gd name="connsiteY43" fmla="*/ 4538207 h 6876000"/>
              <a:gd name="connsiteX44" fmla="*/ 1576145 w 5545537"/>
              <a:gd name="connsiteY44" fmla="*/ 4219357 h 6876000"/>
              <a:gd name="connsiteX45" fmla="*/ 1609779 w 5545537"/>
              <a:gd name="connsiteY45" fmla="*/ 4222748 h 6876000"/>
              <a:gd name="connsiteX46" fmla="*/ 1609779 w 5545537"/>
              <a:gd name="connsiteY46" fmla="*/ 4205666 h 6876000"/>
              <a:gd name="connsiteX47" fmla="*/ 1577115 w 5545537"/>
              <a:gd name="connsiteY47" fmla="*/ 4208959 h 6876000"/>
              <a:gd name="connsiteX48" fmla="*/ 1055057 w 5545537"/>
              <a:gd name="connsiteY48" fmla="*/ 3686901 h 6876000"/>
              <a:gd name="connsiteX49" fmla="*/ 1577115 w 5545537"/>
              <a:gd name="connsiteY49" fmla="*/ 3164843 h 6876000"/>
              <a:gd name="connsiteX50" fmla="*/ 2088567 w 5545537"/>
              <a:gd name="connsiteY50" fmla="*/ 3581688 h 6876000"/>
              <a:gd name="connsiteX51" fmla="*/ 2098635 w 5545537"/>
              <a:gd name="connsiteY51" fmla="*/ 3681565 h 6876000"/>
              <a:gd name="connsiteX52" fmla="*/ 2113837 w 5545537"/>
              <a:gd name="connsiteY52" fmla="*/ 3681565 h 6876000"/>
              <a:gd name="connsiteX53" fmla="*/ 2113837 w 5545537"/>
              <a:gd name="connsiteY53" fmla="*/ 2637449 h 6876000"/>
              <a:gd name="connsiteX54" fmla="*/ 2114775 w 5545537"/>
              <a:gd name="connsiteY54" fmla="*/ 2637449 h 6876000"/>
              <a:gd name="connsiteX55" fmla="*/ 2113835 w 5545537"/>
              <a:gd name="connsiteY55" fmla="*/ 2628122 h 6876000"/>
              <a:gd name="connsiteX56" fmla="*/ 2635893 w 5545537"/>
              <a:gd name="connsiteY56" fmla="*/ 2106064 h 6876000"/>
              <a:gd name="connsiteX57" fmla="*/ 2649648 w 5545537"/>
              <a:gd name="connsiteY57" fmla="*/ 2107451 h 6876000"/>
              <a:gd name="connsiteX58" fmla="*/ 2649648 w 5545537"/>
              <a:gd name="connsiteY58" fmla="*/ 2090015 h 6876000"/>
              <a:gd name="connsiteX59" fmla="*/ 2635894 w 5545537"/>
              <a:gd name="connsiteY59" fmla="*/ 2091401 h 6876000"/>
              <a:gd name="connsiteX60" fmla="*/ 2113836 w 5545537"/>
              <a:gd name="connsiteY60" fmla="*/ 1569343 h 6876000"/>
              <a:gd name="connsiteX61" fmla="*/ 2635894 w 5545537"/>
              <a:gd name="connsiteY61" fmla="*/ 1047285 h 6876000"/>
              <a:gd name="connsiteX62" fmla="*/ 2649648 w 5545537"/>
              <a:gd name="connsiteY62" fmla="*/ 1048672 h 6876000"/>
              <a:gd name="connsiteX63" fmla="*/ 2649648 w 5545537"/>
              <a:gd name="connsiteY63" fmla="*/ 1043268 h 6876000"/>
              <a:gd name="connsiteX64" fmla="*/ 2689899 w 5545537"/>
              <a:gd name="connsiteY64" fmla="*/ 1039210 h 6876000"/>
              <a:gd name="connsiteX65" fmla="*/ 2689899 w 5545537"/>
              <a:gd name="connsiteY65" fmla="*/ 1038672 h 6876000"/>
              <a:gd name="connsiteX66" fmla="*/ 2635893 w 5545537"/>
              <a:gd name="connsiteY66" fmla="*/ 1044116 h 6876000"/>
              <a:gd name="connsiteX67" fmla="*/ 2113835 w 5545537"/>
              <a:gd name="connsiteY67" fmla="*/ 522058 h 6876000"/>
              <a:gd name="connsiteX68" fmla="*/ 2635893 w 5545537"/>
              <a:gd name="connsiteY68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76000 h 6876000"/>
              <a:gd name="connsiteX15" fmla="*/ 2649648 w 5545537"/>
              <a:gd name="connsiteY15" fmla="*/ 6858537 h 6876000"/>
              <a:gd name="connsiteX16" fmla="*/ 2617891 w 5545537"/>
              <a:gd name="connsiteY16" fmla="*/ 6858537 h 6876000"/>
              <a:gd name="connsiteX17" fmla="*/ 1609779 w 5545537"/>
              <a:gd name="connsiteY17" fmla="*/ 6858537 h 6876000"/>
              <a:gd name="connsiteX18" fmla="*/ 1069719 w 5545537"/>
              <a:gd name="connsiteY18" fmla="*/ 6858537 h 6876000"/>
              <a:gd name="connsiteX19" fmla="*/ 1069719 w 5545537"/>
              <a:gd name="connsiteY19" fmla="*/ 6318334 h 6876000"/>
              <a:gd name="connsiteX20" fmla="*/ 1069720 w 5545537"/>
              <a:gd name="connsiteY20" fmla="*/ 6318321 h 6876000"/>
              <a:gd name="connsiteX21" fmla="*/ 1069719 w 5545537"/>
              <a:gd name="connsiteY21" fmla="*/ 6318310 h 6876000"/>
              <a:gd name="connsiteX22" fmla="*/ 1069719 w 5545537"/>
              <a:gd name="connsiteY22" fmla="*/ 6237825 h 6876000"/>
              <a:gd name="connsiteX23" fmla="*/ 1062618 w 5545537"/>
              <a:gd name="connsiteY23" fmla="*/ 6237825 h 6876000"/>
              <a:gd name="connsiteX24" fmla="*/ 1061010 w 5545537"/>
              <a:gd name="connsiteY24" fmla="*/ 6219603 h 6876000"/>
              <a:gd name="connsiteX25" fmla="*/ 624433 w 5545537"/>
              <a:gd name="connsiteY25" fmla="*/ 5771972 h 6876000"/>
              <a:gd name="connsiteX26" fmla="*/ 529659 w 5545537"/>
              <a:gd name="connsiteY26" fmla="*/ 5762418 h 6876000"/>
              <a:gd name="connsiteX27" fmla="*/ 529659 w 5545537"/>
              <a:gd name="connsiteY27" fmla="*/ 5760642 h 6876000"/>
              <a:gd name="connsiteX28" fmla="*/ 512040 w 5545537"/>
              <a:gd name="connsiteY28" fmla="*/ 5760642 h 6876000"/>
              <a:gd name="connsiteX29" fmla="*/ 512040 w 5545537"/>
              <a:gd name="connsiteY29" fmla="*/ 5743975 h 6876000"/>
              <a:gd name="connsiteX30" fmla="*/ 426816 w 5545537"/>
              <a:gd name="connsiteY30" fmla="*/ 5735384 h 6876000"/>
              <a:gd name="connsiteX31" fmla="*/ 9971 w 5545537"/>
              <a:gd name="connsiteY31" fmla="*/ 5223932 h 6876000"/>
              <a:gd name="connsiteX32" fmla="*/ 426816 w 5545537"/>
              <a:gd name="connsiteY32" fmla="*/ 4712481 h 6876000"/>
              <a:gd name="connsiteX33" fmla="*/ 512040 w 5545537"/>
              <a:gd name="connsiteY33" fmla="*/ 4703889 h 6876000"/>
              <a:gd name="connsiteX34" fmla="*/ 512040 w 5545537"/>
              <a:gd name="connsiteY34" fmla="*/ 4703511 h 6876000"/>
              <a:gd name="connsiteX35" fmla="*/ 423086 w 5545537"/>
              <a:gd name="connsiteY35" fmla="*/ 4694544 h 6876000"/>
              <a:gd name="connsiteX36" fmla="*/ 0 w 5545537"/>
              <a:gd name="connsiteY36" fmla="*/ 4175435 h 6876000"/>
              <a:gd name="connsiteX37" fmla="*/ 529874 w 5545537"/>
              <a:gd name="connsiteY37" fmla="*/ 3645561 h 6876000"/>
              <a:gd name="connsiteX38" fmla="*/ 1048983 w 5545537"/>
              <a:gd name="connsiteY38" fmla="*/ 4068647 h 6876000"/>
              <a:gd name="connsiteX39" fmla="*/ 1057146 w 5545537"/>
              <a:gd name="connsiteY39" fmla="*/ 4149617 h 6876000"/>
              <a:gd name="connsiteX40" fmla="*/ 1066307 w 5545537"/>
              <a:gd name="connsiteY40" fmla="*/ 4347509 h 6876000"/>
              <a:gd name="connsiteX41" fmla="*/ 1069719 w 5545537"/>
              <a:gd name="connsiteY41" fmla="*/ 4620012 h 6876000"/>
              <a:gd name="connsiteX42" fmla="*/ 1095113 w 5545537"/>
              <a:gd name="connsiteY42" fmla="*/ 4538207 h 6876000"/>
              <a:gd name="connsiteX43" fmla="*/ 1576145 w 5545537"/>
              <a:gd name="connsiteY43" fmla="*/ 4219357 h 6876000"/>
              <a:gd name="connsiteX44" fmla="*/ 1609779 w 5545537"/>
              <a:gd name="connsiteY44" fmla="*/ 4222748 h 6876000"/>
              <a:gd name="connsiteX45" fmla="*/ 1609779 w 5545537"/>
              <a:gd name="connsiteY45" fmla="*/ 4205666 h 6876000"/>
              <a:gd name="connsiteX46" fmla="*/ 1577115 w 5545537"/>
              <a:gd name="connsiteY46" fmla="*/ 4208959 h 6876000"/>
              <a:gd name="connsiteX47" fmla="*/ 1055057 w 5545537"/>
              <a:gd name="connsiteY47" fmla="*/ 3686901 h 6876000"/>
              <a:gd name="connsiteX48" fmla="*/ 1577115 w 5545537"/>
              <a:gd name="connsiteY48" fmla="*/ 3164843 h 6876000"/>
              <a:gd name="connsiteX49" fmla="*/ 2088567 w 5545537"/>
              <a:gd name="connsiteY49" fmla="*/ 3581688 h 6876000"/>
              <a:gd name="connsiteX50" fmla="*/ 2098635 w 5545537"/>
              <a:gd name="connsiteY50" fmla="*/ 3681565 h 6876000"/>
              <a:gd name="connsiteX51" fmla="*/ 2113837 w 5545537"/>
              <a:gd name="connsiteY51" fmla="*/ 3681565 h 6876000"/>
              <a:gd name="connsiteX52" fmla="*/ 2113837 w 5545537"/>
              <a:gd name="connsiteY52" fmla="*/ 2637449 h 6876000"/>
              <a:gd name="connsiteX53" fmla="*/ 2114775 w 5545537"/>
              <a:gd name="connsiteY53" fmla="*/ 2637449 h 6876000"/>
              <a:gd name="connsiteX54" fmla="*/ 2113835 w 5545537"/>
              <a:gd name="connsiteY54" fmla="*/ 2628122 h 6876000"/>
              <a:gd name="connsiteX55" fmla="*/ 2635893 w 5545537"/>
              <a:gd name="connsiteY55" fmla="*/ 2106064 h 6876000"/>
              <a:gd name="connsiteX56" fmla="*/ 2649648 w 5545537"/>
              <a:gd name="connsiteY56" fmla="*/ 2107451 h 6876000"/>
              <a:gd name="connsiteX57" fmla="*/ 2649648 w 5545537"/>
              <a:gd name="connsiteY57" fmla="*/ 2090015 h 6876000"/>
              <a:gd name="connsiteX58" fmla="*/ 2635894 w 5545537"/>
              <a:gd name="connsiteY58" fmla="*/ 2091401 h 6876000"/>
              <a:gd name="connsiteX59" fmla="*/ 2113836 w 5545537"/>
              <a:gd name="connsiteY59" fmla="*/ 1569343 h 6876000"/>
              <a:gd name="connsiteX60" fmla="*/ 2635894 w 5545537"/>
              <a:gd name="connsiteY60" fmla="*/ 1047285 h 6876000"/>
              <a:gd name="connsiteX61" fmla="*/ 2649648 w 5545537"/>
              <a:gd name="connsiteY61" fmla="*/ 1048672 h 6876000"/>
              <a:gd name="connsiteX62" fmla="*/ 2649648 w 5545537"/>
              <a:gd name="connsiteY62" fmla="*/ 1043268 h 6876000"/>
              <a:gd name="connsiteX63" fmla="*/ 2689899 w 5545537"/>
              <a:gd name="connsiteY63" fmla="*/ 1039210 h 6876000"/>
              <a:gd name="connsiteX64" fmla="*/ 2689899 w 5545537"/>
              <a:gd name="connsiteY64" fmla="*/ 1038672 h 6876000"/>
              <a:gd name="connsiteX65" fmla="*/ 2635893 w 5545537"/>
              <a:gd name="connsiteY65" fmla="*/ 1044116 h 6876000"/>
              <a:gd name="connsiteX66" fmla="*/ 2113835 w 5545537"/>
              <a:gd name="connsiteY66" fmla="*/ 522058 h 6876000"/>
              <a:gd name="connsiteX67" fmla="*/ 2635893 w 5545537"/>
              <a:gd name="connsiteY67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9719 w 5545537"/>
              <a:gd name="connsiteY21" fmla="*/ 6237825 h 6876000"/>
              <a:gd name="connsiteX22" fmla="*/ 1062618 w 5545537"/>
              <a:gd name="connsiteY22" fmla="*/ 6237825 h 6876000"/>
              <a:gd name="connsiteX23" fmla="*/ 1061010 w 5545537"/>
              <a:gd name="connsiteY23" fmla="*/ 6219603 h 6876000"/>
              <a:gd name="connsiteX24" fmla="*/ 624433 w 5545537"/>
              <a:gd name="connsiteY24" fmla="*/ 5771972 h 6876000"/>
              <a:gd name="connsiteX25" fmla="*/ 529659 w 5545537"/>
              <a:gd name="connsiteY25" fmla="*/ 5762418 h 6876000"/>
              <a:gd name="connsiteX26" fmla="*/ 529659 w 5545537"/>
              <a:gd name="connsiteY26" fmla="*/ 5760642 h 6876000"/>
              <a:gd name="connsiteX27" fmla="*/ 512040 w 5545537"/>
              <a:gd name="connsiteY27" fmla="*/ 5760642 h 6876000"/>
              <a:gd name="connsiteX28" fmla="*/ 512040 w 5545537"/>
              <a:gd name="connsiteY28" fmla="*/ 5743975 h 6876000"/>
              <a:gd name="connsiteX29" fmla="*/ 426816 w 5545537"/>
              <a:gd name="connsiteY29" fmla="*/ 5735384 h 6876000"/>
              <a:gd name="connsiteX30" fmla="*/ 9971 w 5545537"/>
              <a:gd name="connsiteY30" fmla="*/ 5223932 h 6876000"/>
              <a:gd name="connsiteX31" fmla="*/ 426816 w 5545537"/>
              <a:gd name="connsiteY31" fmla="*/ 4712481 h 6876000"/>
              <a:gd name="connsiteX32" fmla="*/ 512040 w 5545537"/>
              <a:gd name="connsiteY32" fmla="*/ 4703889 h 6876000"/>
              <a:gd name="connsiteX33" fmla="*/ 512040 w 5545537"/>
              <a:gd name="connsiteY33" fmla="*/ 4703511 h 6876000"/>
              <a:gd name="connsiteX34" fmla="*/ 423086 w 5545537"/>
              <a:gd name="connsiteY34" fmla="*/ 4694544 h 6876000"/>
              <a:gd name="connsiteX35" fmla="*/ 0 w 5545537"/>
              <a:gd name="connsiteY35" fmla="*/ 4175435 h 6876000"/>
              <a:gd name="connsiteX36" fmla="*/ 529874 w 5545537"/>
              <a:gd name="connsiteY36" fmla="*/ 3645561 h 6876000"/>
              <a:gd name="connsiteX37" fmla="*/ 1048983 w 5545537"/>
              <a:gd name="connsiteY37" fmla="*/ 4068647 h 6876000"/>
              <a:gd name="connsiteX38" fmla="*/ 1057146 w 5545537"/>
              <a:gd name="connsiteY38" fmla="*/ 4149617 h 6876000"/>
              <a:gd name="connsiteX39" fmla="*/ 1066307 w 5545537"/>
              <a:gd name="connsiteY39" fmla="*/ 4347509 h 6876000"/>
              <a:gd name="connsiteX40" fmla="*/ 1069719 w 5545537"/>
              <a:gd name="connsiteY40" fmla="*/ 4620012 h 6876000"/>
              <a:gd name="connsiteX41" fmla="*/ 1095113 w 5545537"/>
              <a:gd name="connsiteY41" fmla="*/ 4538207 h 6876000"/>
              <a:gd name="connsiteX42" fmla="*/ 1576145 w 5545537"/>
              <a:gd name="connsiteY42" fmla="*/ 4219357 h 6876000"/>
              <a:gd name="connsiteX43" fmla="*/ 1609779 w 5545537"/>
              <a:gd name="connsiteY43" fmla="*/ 4222748 h 6876000"/>
              <a:gd name="connsiteX44" fmla="*/ 1609779 w 5545537"/>
              <a:gd name="connsiteY44" fmla="*/ 4205666 h 6876000"/>
              <a:gd name="connsiteX45" fmla="*/ 1577115 w 5545537"/>
              <a:gd name="connsiteY45" fmla="*/ 4208959 h 6876000"/>
              <a:gd name="connsiteX46" fmla="*/ 1055057 w 5545537"/>
              <a:gd name="connsiteY46" fmla="*/ 3686901 h 6876000"/>
              <a:gd name="connsiteX47" fmla="*/ 1577115 w 5545537"/>
              <a:gd name="connsiteY47" fmla="*/ 3164843 h 6876000"/>
              <a:gd name="connsiteX48" fmla="*/ 2088567 w 5545537"/>
              <a:gd name="connsiteY48" fmla="*/ 3581688 h 6876000"/>
              <a:gd name="connsiteX49" fmla="*/ 2098635 w 5545537"/>
              <a:gd name="connsiteY49" fmla="*/ 3681565 h 6876000"/>
              <a:gd name="connsiteX50" fmla="*/ 2113837 w 5545537"/>
              <a:gd name="connsiteY50" fmla="*/ 3681565 h 6876000"/>
              <a:gd name="connsiteX51" fmla="*/ 2113837 w 5545537"/>
              <a:gd name="connsiteY51" fmla="*/ 2637449 h 6876000"/>
              <a:gd name="connsiteX52" fmla="*/ 2114775 w 5545537"/>
              <a:gd name="connsiteY52" fmla="*/ 2637449 h 6876000"/>
              <a:gd name="connsiteX53" fmla="*/ 2113835 w 5545537"/>
              <a:gd name="connsiteY53" fmla="*/ 2628122 h 6876000"/>
              <a:gd name="connsiteX54" fmla="*/ 2635893 w 5545537"/>
              <a:gd name="connsiteY54" fmla="*/ 2106064 h 6876000"/>
              <a:gd name="connsiteX55" fmla="*/ 2649648 w 5545537"/>
              <a:gd name="connsiteY55" fmla="*/ 2107451 h 6876000"/>
              <a:gd name="connsiteX56" fmla="*/ 2649648 w 5545537"/>
              <a:gd name="connsiteY56" fmla="*/ 2090015 h 6876000"/>
              <a:gd name="connsiteX57" fmla="*/ 2635894 w 5545537"/>
              <a:gd name="connsiteY57" fmla="*/ 2091401 h 6876000"/>
              <a:gd name="connsiteX58" fmla="*/ 2113836 w 5545537"/>
              <a:gd name="connsiteY58" fmla="*/ 1569343 h 6876000"/>
              <a:gd name="connsiteX59" fmla="*/ 2635894 w 5545537"/>
              <a:gd name="connsiteY59" fmla="*/ 1047285 h 6876000"/>
              <a:gd name="connsiteX60" fmla="*/ 2649648 w 5545537"/>
              <a:gd name="connsiteY60" fmla="*/ 1048672 h 6876000"/>
              <a:gd name="connsiteX61" fmla="*/ 2649648 w 5545537"/>
              <a:gd name="connsiteY61" fmla="*/ 1043268 h 6876000"/>
              <a:gd name="connsiteX62" fmla="*/ 2689899 w 5545537"/>
              <a:gd name="connsiteY62" fmla="*/ 1039210 h 6876000"/>
              <a:gd name="connsiteX63" fmla="*/ 2689899 w 5545537"/>
              <a:gd name="connsiteY63" fmla="*/ 1038672 h 6876000"/>
              <a:gd name="connsiteX64" fmla="*/ 2635893 w 5545537"/>
              <a:gd name="connsiteY64" fmla="*/ 1044116 h 6876000"/>
              <a:gd name="connsiteX65" fmla="*/ 2113835 w 5545537"/>
              <a:gd name="connsiteY65" fmla="*/ 522058 h 6876000"/>
              <a:gd name="connsiteX66" fmla="*/ 2635893 w 5545537"/>
              <a:gd name="connsiteY66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9719 w 5545537"/>
              <a:gd name="connsiteY21" fmla="*/ 6237825 h 6876000"/>
              <a:gd name="connsiteX22" fmla="*/ 1061010 w 5545537"/>
              <a:gd name="connsiteY22" fmla="*/ 6219603 h 6876000"/>
              <a:gd name="connsiteX23" fmla="*/ 624433 w 5545537"/>
              <a:gd name="connsiteY23" fmla="*/ 5771972 h 6876000"/>
              <a:gd name="connsiteX24" fmla="*/ 529659 w 5545537"/>
              <a:gd name="connsiteY24" fmla="*/ 5762418 h 6876000"/>
              <a:gd name="connsiteX25" fmla="*/ 529659 w 5545537"/>
              <a:gd name="connsiteY25" fmla="*/ 5760642 h 6876000"/>
              <a:gd name="connsiteX26" fmla="*/ 512040 w 5545537"/>
              <a:gd name="connsiteY26" fmla="*/ 5760642 h 6876000"/>
              <a:gd name="connsiteX27" fmla="*/ 512040 w 5545537"/>
              <a:gd name="connsiteY27" fmla="*/ 5743975 h 6876000"/>
              <a:gd name="connsiteX28" fmla="*/ 426816 w 5545537"/>
              <a:gd name="connsiteY28" fmla="*/ 5735384 h 6876000"/>
              <a:gd name="connsiteX29" fmla="*/ 9971 w 5545537"/>
              <a:gd name="connsiteY29" fmla="*/ 5223932 h 6876000"/>
              <a:gd name="connsiteX30" fmla="*/ 426816 w 5545537"/>
              <a:gd name="connsiteY30" fmla="*/ 4712481 h 6876000"/>
              <a:gd name="connsiteX31" fmla="*/ 512040 w 5545537"/>
              <a:gd name="connsiteY31" fmla="*/ 4703889 h 6876000"/>
              <a:gd name="connsiteX32" fmla="*/ 512040 w 5545537"/>
              <a:gd name="connsiteY32" fmla="*/ 4703511 h 6876000"/>
              <a:gd name="connsiteX33" fmla="*/ 423086 w 5545537"/>
              <a:gd name="connsiteY33" fmla="*/ 4694544 h 6876000"/>
              <a:gd name="connsiteX34" fmla="*/ 0 w 5545537"/>
              <a:gd name="connsiteY34" fmla="*/ 4175435 h 6876000"/>
              <a:gd name="connsiteX35" fmla="*/ 529874 w 5545537"/>
              <a:gd name="connsiteY35" fmla="*/ 3645561 h 6876000"/>
              <a:gd name="connsiteX36" fmla="*/ 1048983 w 5545537"/>
              <a:gd name="connsiteY36" fmla="*/ 4068647 h 6876000"/>
              <a:gd name="connsiteX37" fmla="*/ 1057146 w 5545537"/>
              <a:gd name="connsiteY37" fmla="*/ 4149617 h 6876000"/>
              <a:gd name="connsiteX38" fmla="*/ 1066307 w 5545537"/>
              <a:gd name="connsiteY38" fmla="*/ 4347509 h 6876000"/>
              <a:gd name="connsiteX39" fmla="*/ 1069719 w 5545537"/>
              <a:gd name="connsiteY39" fmla="*/ 4620012 h 6876000"/>
              <a:gd name="connsiteX40" fmla="*/ 1095113 w 5545537"/>
              <a:gd name="connsiteY40" fmla="*/ 4538207 h 6876000"/>
              <a:gd name="connsiteX41" fmla="*/ 1576145 w 5545537"/>
              <a:gd name="connsiteY41" fmla="*/ 4219357 h 6876000"/>
              <a:gd name="connsiteX42" fmla="*/ 1609779 w 5545537"/>
              <a:gd name="connsiteY42" fmla="*/ 4222748 h 6876000"/>
              <a:gd name="connsiteX43" fmla="*/ 1609779 w 5545537"/>
              <a:gd name="connsiteY43" fmla="*/ 4205666 h 6876000"/>
              <a:gd name="connsiteX44" fmla="*/ 1577115 w 5545537"/>
              <a:gd name="connsiteY44" fmla="*/ 4208959 h 6876000"/>
              <a:gd name="connsiteX45" fmla="*/ 1055057 w 5545537"/>
              <a:gd name="connsiteY45" fmla="*/ 3686901 h 6876000"/>
              <a:gd name="connsiteX46" fmla="*/ 1577115 w 5545537"/>
              <a:gd name="connsiteY46" fmla="*/ 3164843 h 6876000"/>
              <a:gd name="connsiteX47" fmla="*/ 2088567 w 5545537"/>
              <a:gd name="connsiteY47" fmla="*/ 3581688 h 6876000"/>
              <a:gd name="connsiteX48" fmla="*/ 2098635 w 5545537"/>
              <a:gd name="connsiteY48" fmla="*/ 3681565 h 6876000"/>
              <a:gd name="connsiteX49" fmla="*/ 2113837 w 5545537"/>
              <a:gd name="connsiteY49" fmla="*/ 3681565 h 6876000"/>
              <a:gd name="connsiteX50" fmla="*/ 2113837 w 5545537"/>
              <a:gd name="connsiteY50" fmla="*/ 2637449 h 6876000"/>
              <a:gd name="connsiteX51" fmla="*/ 2114775 w 5545537"/>
              <a:gd name="connsiteY51" fmla="*/ 2637449 h 6876000"/>
              <a:gd name="connsiteX52" fmla="*/ 2113835 w 5545537"/>
              <a:gd name="connsiteY52" fmla="*/ 2628122 h 6876000"/>
              <a:gd name="connsiteX53" fmla="*/ 2635893 w 5545537"/>
              <a:gd name="connsiteY53" fmla="*/ 2106064 h 6876000"/>
              <a:gd name="connsiteX54" fmla="*/ 2649648 w 5545537"/>
              <a:gd name="connsiteY54" fmla="*/ 2107451 h 6876000"/>
              <a:gd name="connsiteX55" fmla="*/ 2649648 w 5545537"/>
              <a:gd name="connsiteY55" fmla="*/ 2090015 h 6876000"/>
              <a:gd name="connsiteX56" fmla="*/ 2635894 w 5545537"/>
              <a:gd name="connsiteY56" fmla="*/ 2091401 h 6876000"/>
              <a:gd name="connsiteX57" fmla="*/ 2113836 w 5545537"/>
              <a:gd name="connsiteY57" fmla="*/ 1569343 h 6876000"/>
              <a:gd name="connsiteX58" fmla="*/ 2635894 w 5545537"/>
              <a:gd name="connsiteY58" fmla="*/ 1047285 h 6876000"/>
              <a:gd name="connsiteX59" fmla="*/ 2649648 w 5545537"/>
              <a:gd name="connsiteY59" fmla="*/ 1048672 h 6876000"/>
              <a:gd name="connsiteX60" fmla="*/ 2649648 w 5545537"/>
              <a:gd name="connsiteY60" fmla="*/ 1043268 h 6876000"/>
              <a:gd name="connsiteX61" fmla="*/ 2689899 w 5545537"/>
              <a:gd name="connsiteY61" fmla="*/ 1039210 h 6876000"/>
              <a:gd name="connsiteX62" fmla="*/ 2689899 w 5545537"/>
              <a:gd name="connsiteY62" fmla="*/ 1038672 h 6876000"/>
              <a:gd name="connsiteX63" fmla="*/ 2635893 w 5545537"/>
              <a:gd name="connsiteY63" fmla="*/ 1044116 h 6876000"/>
              <a:gd name="connsiteX64" fmla="*/ 2113835 w 5545537"/>
              <a:gd name="connsiteY64" fmla="*/ 522058 h 6876000"/>
              <a:gd name="connsiteX65" fmla="*/ 2635893 w 5545537"/>
              <a:gd name="connsiteY65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9719 w 5545537"/>
              <a:gd name="connsiteY21" fmla="*/ 6237825 h 6876000"/>
              <a:gd name="connsiteX22" fmla="*/ 1061010 w 5545537"/>
              <a:gd name="connsiteY22" fmla="*/ 6219603 h 6876000"/>
              <a:gd name="connsiteX23" fmla="*/ 624433 w 5545537"/>
              <a:gd name="connsiteY23" fmla="*/ 5771972 h 6876000"/>
              <a:gd name="connsiteX24" fmla="*/ 529659 w 5545537"/>
              <a:gd name="connsiteY24" fmla="*/ 5762418 h 6876000"/>
              <a:gd name="connsiteX25" fmla="*/ 529659 w 5545537"/>
              <a:gd name="connsiteY25" fmla="*/ 5760642 h 6876000"/>
              <a:gd name="connsiteX26" fmla="*/ 512040 w 5545537"/>
              <a:gd name="connsiteY26" fmla="*/ 5760642 h 6876000"/>
              <a:gd name="connsiteX27" fmla="*/ 512040 w 5545537"/>
              <a:gd name="connsiteY27" fmla="*/ 5743975 h 6876000"/>
              <a:gd name="connsiteX28" fmla="*/ 426816 w 5545537"/>
              <a:gd name="connsiteY28" fmla="*/ 5735384 h 6876000"/>
              <a:gd name="connsiteX29" fmla="*/ 9971 w 5545537"/>
              <a:gd name="connsiteY29" fmla="*/ 5223932 h 6876000"/>
              <a:gd name="connsiteX30" fmla="*/ 426816 w 5545537"/>
              <a:gd name="connsiteY30" fmla="*/ 4712481 h 6876000"/>
              <a:gd name="connsiteX31" fmla="*/ 512040 w 5545537"/>
              <a:gd name="connsiteY31" fmla="*/ 4703889 h 6876000"/>
              <a:gd name="connsiteX32" fmla="*/ 512040 w 5545537"/>
              <a:gd name="connsiteY32" fmla="*/ 4703511 h 6876000"/>
              <a:gd name="connsiteX33" fmla="*/ 423086 w 5545537"/>
              <a:gd name="connsiteY33" fmla="*/ 4694544 h 6876000"/>
              <a:gd name="connsiteX34" fmla="*/ 0 w 5545537"/>
              <a:gd name="connsiteY34" fmla="*/ 4175435 h 6876000"/>
              <a:gd name="connsiteX35" fmla="*/ 529874 w 5545537"/>
              <a:gd name="connsiteY35" fmla="*/ 3645561 h 6876000"/>
              <a:gd name="connsiteX36" fmla="*/ 1048983 w 5545537"/>
              <a:gd name="connsiteY36" fmla="*/ 4068647 h 6876000"/>
              <a:gd name="connsiteX37" fmla="*/ 1057146 w 5545537"/>
              <a:gd name="connsiteY37" fmla="*/ 4149617 h 6876000"/>
              <a:gd name="connsiteX38" fmla="*/ 1066307 w 5545537"/>
              <a:gd name="connsiteY38" fmla="*/ 4347509 h 6876000"/>
              <a:gd name="connsiteX39" fmla="*/ 1069719 w 5545537"/>
              <a:gd name="connsiteY39" fmla="*/ 4620012 h 6876000"/>
              <a:gd name="connsiteX40" fmla="*/ 1095113 w 5545537"/>
              <a:gd name="connsiteY40" fmla="*/ 4538207 h 6876000"/>
              <a:gd name="connsiteX41" fmla="*/ 1576145 w 5545537"/>
              <a:gd name="connsiteY41" fmla="*/ 4219357 h 6876000"/>
              <a:gd name="connsiteX42" fmla="*/ 1609779 w 5545537"/>
              <a:gd name="connsiteY42" fmla="*/ 4222748 h 6876000"/>
              <a:gd name="connsiteX43" fmla="*/ 1609779 w 5545537"/>
              <a:gd name="connsiteY43" fmla="*/ 4205666 h 6876000"/>
              <a:gd name="connsiteX44" fmla="*/ 1577115 w 5545537"/>
              <a:gd name="connsiteY44" fmla="*/ 4208959 h 6876000"/>
              <a:gd name="connsiteX45" fmla="*/ 1055057 w 5545537"/>
              <a:gd name="connsiteY45" fmla="*/ 3686901 h 6876000"/>
              <a:gd name="connsiteX46" fmla="*/ 1577115 w 5545537"/>
              <a:gd name="connsiteY46" fmla="*/ 3164843 h 6876000"/>
              <a:gd name="connsiteX47" fmla="*/ 2088567 w 5545537"/>
              <a:gd name="connsiteY47" fmla="*/ 3581688 h 6876000"/>
              <a:gd name="connsiteX48" fmla="*/ 2098635 w 5545537"/>
              <a:gd name="connsiteY48" fmla="*/ 3681565 h 6876000"/>
              <a:gd name="connsiteX49" fmla="*/ 2113837 w 5545537"/>
              <a:gd name="connsiteY49" fmla="*/ 3681565 h 6876000"/>
              <a:gd name="connsiteX50" fmla="*/ 2113837 w 5545537"/>
              <a:gd name="connsiteY50" fmla="*/ 2637449 h 6876000"/>
              <a:gd name="connsiteX51" fmla="*/ 2114775 w 5545537"/>
              <a:gd name="connsiteY51" fmla="*/ 2637449 h 6876000"/>
              <a:gd name="connsiteX52" fmla="*/ 2113835 w 5545537"/>
              <a:gd name="connsiteY52" fmla="*/ 2628122 h 6876000"/>
              <a:gd name="connsiteX53" fmla="*/ 2635893 w 5545537"/>
              <a:gd name="connsiteY53" fmla="*/ 2106064 h 6876000"/>
              <a:gd name="connsiteX54" fmla="*/ 2649648 w 5545537"/>
              <a:gd name="connsiteY54" fmla="*/ 2107451 h 6876000"/>
              <a:gd name="connsiteX55" fmla="*/ 2649648 w 5545537"/>
              <a:gd name="connsiteY55" fmla="*/ 2090015 h 6876000"/>
              <a:gd name="connsiteX56" fmla="*/ 2635894 w 5545537"/>
              <a:gd name="connsiteY56" fmla="*/ 2091401 h 6876000"/>
              <a:gd name="connsiteX57" fmla="*/ 2113836 w 5545537"/>
              <a:gd name="connsiteY57" fmla="*/ 1569343 h 6876000"/>
              <a:gd name="connsiteX58" fmla="*/ 2635894 w 5545537"/>
              <a:gd name="connsiteY58" fmla="*/ 1047285 h 6876000"/>
              <a:gd name="connsiteX59" fmla="*/ 2649648 w 5545537"/>
              <a:gd name="connsiteY59" fmla="*/ 1048672 h 6876000"/>
              <a:gd name="connsiteX60" fmla="*/ 2649648 w 5545537"/>
              <a:gd name="connsiteY60" fmla="*/ 1043268 h 6876000"/>
              <a:gd name="connsiteX61" fmla="*/ 2689899 w 5545537"/>
              <a:gd name="connsiteY61" fmla="*/ 1039210 h 6876000"/>
              <a:gd name="connsiteX62" fmla="*/ 2689899 w 5545537"/>
              <a:gd name="connsiteY62" fmla="*/ 1038672 h 6876000"/>
              <a:gd name="connsiteX63" fmla="*/ 2635893 w 5545537"/>
              <a:gd name="connsiteY63" fmla="*/ 1044116 h 6876000"/>
              <a:gd name="connsiteX64" fmla="*/ 2113835 w 5545537"/>
              <a:gd name="connsiteY64" fmla="*/ 522058 h 6876000"/>
              <a:gd name="connsiteX65" fmla="*/ 2635893 w 5545537"/>
              <a:gd name="connsiteY65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1010 w 5545537"/>
              <a:gd name="connsiteY21" fmla="*/ 6219603 h 6876000"/>
              <a:gd name="connsiteX22" fmla="*/ 624433 w 5545537"/>
              <a:gd name="connsiteY22" fmla="*/ 5771972 h 6876000"/>
              <a:gd name="connsiteX23" fmla="*/ 529659 w 5545537"/>
              <a:gd name="connsiteY23" fmla="*/ 5762418 h 6876000"/>
              <a:gd name="connsiteX24" fmla="*/ 529659 w 5545537"/>
              <a:gd name="connsiteY24" fmla="*/ 5760642 h 6876000"/>
              <a:gd name="connsiteX25" fmla="*/ 512040 w 5545537"/>
              <a:gd name="connsiteY25" fmla="*/ 5760642 h 6876000"/>
              <a:gd name="connsiteX26" fmla="*/ 512040 w 5545537"/>
              <a:gd name="connsiteY26" fmla="*/ 5743975 h 6876000"/>
              <a:gd name="connsiteX27" fmla="*/ 426816 w 5545537"/>
              <a:gd name="connsiteY27" fmla="*/ 5735384 h 6876000"/>
              <a:gd name="connsiteX28" fmla="*/ 9971 w 5545537"/>
              <a:gd name="connsiteY28" fmla="*/ 5223932 h 6876000"/>
              <a:gd name="connsiteX29" fmla="*/ 426816 w 5545537"/>
              <a:gd name="connsiteY29" fmla="*/ 4712481 h 6876000"/>
              <a:gd name="connsiteX30" fmla="*/ 512040 w 5545537"/>
              <a:gd name="connsiteY30" fmla="*/ 4703889 h 6876000"/>
              <a:gd name="connsiteX31" fmla="*/ 512040 w 5545537"/>
              <a:gd name="connsiteY31" fmla="*/ 4703511 h 6876000"/>
              <a:gd name="connsiteX32" fmla="*/ 423086 w 5545537"/>
              <a:gd name="connsiteY32" fmla="*/ 4694544 h 6876000"/>
              <a:gd name="connsiteX33" fmla="*/ 0 w 5545537"/>
              <a:gd name="connsiteY33" fmla="*/ 4175435 h 6876000"/>
              <a:gd name="connsiteX34" fmla="*/ 529874 w 5545537"/>
              <a:gd name="connsiteY34" fmla="*/ 3645561 h 6876000"/>
              <a:gd name="connsiteX35" fmla="*/ 1048983 w 5545537"/>
              <a:gd name="connsiteY35" fmla="*/ 4068647 h 6876000"/>
              <a:gd name="connsiteX36" fmla="*/ 1057146 w 5545537"/>
              <a:gd name="connsiteY36" fmla="*/ 4149617 h 6876000"/>
              <a:gd name="connsiteX37" fmla="*/ 1066307 w 5545537"/>
              <a:gd name="connsiteY37" fmla="*/ 4347509 h 6876000"/>
              <a:gd name="connsiteX38" fmla="*/ 1069719 w 5545537"/>
              <a:gd name="connsiteY38" fmla="*/ 4620012 h 6876000"/>
              <a:gd name="connsiteX39" fmla="*/ 1095113 w 5545537"/>
              <a:gd name="connsiteY39" fmla="*/ 4538207 h 6876000"/>
              <a:gd name="connsiteX40" fmla="*/ 1576145 w 5545537"/>
              <a:gd name="connsiteY40" fmla="*/ 4219357 h 6876000"/>
              <a:gd name="connsiteX41" fmla="*/ 1609779 w 5545537"/>
              <a:gd name="connsiteY41" fmla="*/ 4222748 h 6876000"/>
              <a:gd name="connsiteX42" fmla="*/ 1609779 w 5545537"/>
              <a:gd name="connsiteY42" fmla="*/ 4205666 h 6876000"/>
              <a:gd name="connsiteX43" fmla="*/ 1577115 w 5545537"/>
              <a:gd name="connsiteY43" fmla="*/ 4208959 h 6876000"/>
              <a:gd name="connsiteX44" fmla="*/ 1055057 w 5545537"/>
              <a:gd name="connsiteY44" fmla="*/ 3686901 h 6876000"/>
              <a:gd name="connsiteX45" fmla="*/ 1577115 w 5545537"/>
              <a:gd name="connsiteY45" fmla="*/ 3164843 h 6876000"/>
              <a:gd name="connsiteX46" fmla="*/ 2088567 w 5545537"/>
              <a:gd name="connsiteY46" fmla="*/ 3581688 h 6876000"/>
              <a:gd name="connsiteX47" fmla="*/ 2098635 w 5545537"/>
              <a:gd name="connsiteY47" fmla="*/ 3681565 h 6876000"/>
              <a:gd name="connsiteX48" fmla="*/ 2113837 w 5545537"/>
              <a:gd name="connsiteY48" fmla="*/ 3681565 h 6876000"/>
              <a:gd name="connsiteX49" fmla="*/ 2113837 w 5545537"/>
              <a:gd name="connsiteY49" fmla="*/ 2637449 h 6876000"/>
              <a:gd name="connsiteX50" fmla="*/ 2114775 w 5545537"/>
              <a:gd name="connsiteY50" fmla="*/ 2637449 h 6876000"/>
              <a:gd name="connsiteX51" fmla="*/ 2113835 w 5545537"/>
              <a:gd name="connsiteY51" fmla="*/ 2628122 h 6876000"/>
              <a:gd name="connsiteX52" fmla="*/ 2635893 w 5545537"/>
              <a:gd name="connsiteY52" fmla="*/ 2106064 h 6876000"/>
              <a:gd name="connsiteX53" fmla="*/ 2649648 w 5545537"/>
              <a:gd name="connsiteY53" fmla="*/ 2107451 h 6876000"/>
              <a:gd name="connsiteX54" fmla="*/ 2649648 w 5545537"/>
              <a:gd name="connsiteY54" fmla="*/ 2090015 h 6876000"/>
              <a:gd name="connsiteX55" fmla="*/ 2635894 w 5545537"/>
              <a:gd name="connsiteY55" fmla="*/ 2091401 h 6876000"/>
              <a:gd name="connsiteX56" fmla="*/ 2113836 w 5545537"/>
              <a:gd name="connsiteY56" fmla="*/ 1569343 h 6876000"/>
              <a:gd name="connsiteX57" fmla="*/ 2635894 w 5545537"/>
              <a:gd name="connsiteY57" fmla="*/ 1047285 h 6876000"/>
              <a:gd name="connsiteX58" fmla="*/ 2649648 w 5545537"/>
              <a:gd name="connsiteY58" fmla="*/ 1048672 h 6876000"/>
              <a:gd name="connsiteX59" fmla="*/ 2649648 w 5545537"/>
              <a:gd name="connsiteY59" fmla="*/ 1043268 h 6876000"/>
              <a:gd name="connsiteX60" fmla="*/ 2689899 w 5545537"/>
              <a:gd name="connsiteY60" fmla="*/ 1039210 h 6876000"/>
              <a:gd name="connsiteX61" fmla="*/ 2689899 w 5545537"/>
              <a:gd name="connsiteY61" fmla="*/ 1038672 h 6876000"/>
              <a:gd name="connsiteX62" fmla="*/ 2635893 w 5545537"/>
              <a:gd name="connsiteY62" fmla="*/ 1044116 h 6876000"/>
              <a:gd name="connsiteX63" fmla="*/ 2113835 w 5545537"/>
              <a:gd name="connsiteY63" fmla="*/ 522058 h 6876000"/>
              <a:gd name="connsiteX64" fmla="*/ 2635893 w 5545537"/>
              <a:gd name="connsiteY64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1010 w 5545537"/>
              <a:gd name="connsiteY21" fmla="*/ 6219603 h 6876000"/>
              <a:gd name="connsiteX22" fmla="*/ 624433 w 5545537"/>
              <a:gd name="connsiteY22" fmla="*/ 5771972 h 6876000"/>
              <a:gd name="connsiteX23" fmla="*/ 529659 w 5545537"/>
              <a:gd name="connsiteY23" fmla="*/ 5762418 h 6876000"/>
              <a:gd name="connsiteX24" fmla="*/ 529659 w 5545537"/>
              <a:gd name="connsiteY24" fmla="*/ 5760642 h 6876000"/>
              <a:gd name="connsiteX25" fmla="*/ 512040 w 5545537"/>
              <a:gd name="connsiteY25" fmla="*/ 5743975 h 6876000"/>
              <a:gd name="connsiteX26" fmla="*/ 426816 w 5545537"/>
              <a:gd name="connsiteY26" fmla="*/ 5735384 h 6876000"/>
              <a:gd name="connsiteX27" fmla="*/ 9971 w 5545537"/>
              <a:gd name="connsiteY27" fmla="*/ 5223932 h 6876000"/>
              <a:gd name="connsiteX28" fmla="*/ 426816 w 5545537"/>
              <a:gd name="connsiteY28" fmla="*/ 4712481 h 6876000"/>
              <a:gd name="connsiteX29" fmla="*/ 512040 w 5545537"/>
              <a:gd name="connsiteY29" fmla="*/ 4703889 h 6876000"/>
              <a:gd name="connsiteX30" fmla="*/ 512040 w 5545537"/>
              <a:gd name="connsiteY30" fmla="*/ 4703511 h 6876000"/>
              <a:gd name="connsiteX31" fmla="*/ 423086 w 5545537"/>
              <a:gd name="connsiteY31" fmla="*/ 4694544 h 6876000"/>
              <a:gd name="connsiteX32" fmla="*/ 0 w 5545537"/>
              <a:gd name="connsiteY32" fmla="*/ 4175435 h 6876000"/>
              <a:gd name="connsiteX33" fmla="*/ 529874 w 5545537"/>
              <a:gd name="connsiteY33" fmla="*/ 3645561 h 6876000"/>
              <a:gd name="connsiteX34" fmla="*/ 1048983 w 5545537"/>
              <a:gd name="connsiteY34" fmla="*/ 4068647 h 6876000"/>
              <a:gd name="connsiteX35" fmla="*/ 1057146 w 5545537"/>
              <a:gd name="connsiteY35" fmla="*/ 4149617 h 6876000"/>
              <a:gd name="connsiteX36" fmla="*/ 1066307 w 5545537"/>
              <a:gd name="connsiteY36" fmla="*/ 4347509 h 6876000"/>
              <a:gd name="connsiteX37" fmla="*/ 1069719 w 5545537"/>
              <a:gd name="connsiteY37" fmla="*/ 4620012 h 6876000"/>
              <a:gd name="connsiteX38" fmla="*/ 1095113 w 5545537"/>
              <a:gd name="connsiteY38" fmla="*/ 4538207 h 6876000"/>
              <a:gd name="connsiteX39" fmla="*/ 1576145 w 5545537"/>
              <a:gd name="connsiteY39" fmla="*/ 4219357 h 6876000"/>
              <a:gd name="connsiteX40" fmla="*/ 1609779 w 5545537"/>
              <a:gd name="connsiteY40" fmla="*/ 4222748 h 6876000"/>
              <a:gd name="connsiteX41" fmla="*/ 1609779 w 5545537"/>
              <a:gd name="connsiteY41" fmla="*/ 4205666 h 6876000"/>
              <a:gd name="connsiteX42" fmla="*/ 1577115 w 5545537"/>
              <a:gd name="connsiteY42" fmla="*/ 4208959 h 6876000"/>
              <a:gd name="connsiteX43" fmla="*/ 1055057 w 5545537"/>
              <a:gd name="connsiteY43" fmla="*/ 3686901 h 6876000"/>
              <a:gd name="connsiteX44" fmla="*/ 1577115 w 5545537"/>
              <a:gd name="connsiteY44" fmla="*/ 3164843 h 6876000"/>
              <a:gd name="connsiteX45" fmla="*/ 2088567 w 5545537"/>
              <a:gd name="connsiteY45" fmla="*/ 3581688 h 6876000"/>
              <a:gd name="connsiteX46" fmla="*/ 2098635 w 5545537"/>
              <a:gd name="connsiteY46" fmla="*/ 3681565 h 6876000"/>
              <a:gd name="connsiteX47" fmla="*/ 2113837 w 5545537"/>
              <a:gd name="connsiteY47" fmla="*/ 3681565 h 6876000"/>
              <a:gd name="connsiteX48" fmla="*/ 2113837 w 5545537"/>
              <a:gd name="connsiteY48" fmla="*/ 2637449 h 6876000"/>
              <a:gd name="connsiteX49" fmla="*/ 2114775 w 5545537"/>
              <a:gd name="connsiteY49" fmla="*/ 2637449 h 6876000"/>
              <a:gd name="connsiteX50" fmla="*/ 2113835 w 5545537"/>
              <a:gd name="connsiteY50" fmla="*/ 2628122 h 6876000"/>
              <a:gd name="connsiteX51" fmla="*/ 2635893 w 5545537"/>
              <a:gd name="connsiteY51" fmla="*/ 2106064 h 6876000"/>
              <a:gd name="connsiteX52" fmla="*/ 2649648 w 5545537"/>
              <a:gd name="connsiteY52" fmla="*/ 2107451 h 6876000"/>
              <a:gd name="connsiteX53" fmla="*/ 2649648 w 5545537"/>
              <a:gd name="connsiteY53" fmla="*/ 2090015 h 6876000"/>
              <a:gd name="connsiteX54" fmla="*/ 2635894 w 5545537"/>
              <a:gd name="connsiteY54" fmla="*/ 2091401 h 6876000"/>
              <a:gd name="connsiteX55" fmla="*/ 2113836 w 5545537"/>
              <a:gd name="connsiteY55" fmla="*/ 1569343 h 6876000"/>
              <a:gd name="connsiteX56" fmla="*/ 2635894 w 5545537"/>
              <a:gd name="connsiteY56" fmla="*/ 1047285 h 6876000"/>
              <a:gd name="connsiteX57" fmla="*/ 2649648 w 5545537"/>
              <a:gd name="connsiteY57" fmla="*/ 1048672 h 6876000"/>
              <a:gd name="connsiteX58" fmla="*/ 2649648 w 5545537"/>
              <a:gd name="connsiteY58" fmla="*/ 1043268 h 6876000"/>
              <a:gd name="connsiteX59" fmla="*/ 2689899 w 5545537"/>
              <a:gd name="connsiteY59" fmla="*/ 1039210 h 6876000"/>
              <a:gd name="connsiteX60" fmla="*/ 2689899 w 5545537"/>
              <a:gd name="connsiteY60" fmla="*/ 1038672 h 6876000"/>
              <a:gd name="connsiteX61" fmla="*/ 2635893 w 5545537"/>
              <a:gd name="connsiteY61" fmla="*/ 1044116 h 6876000"/>
              <a:gd name="connsiteX62" fmla="*/ 2113835 w 5545537"/>
              <a:gd name="connsiteY62" fmla="*/ 522058 h 6876000"/>
              <a:gd name="connsiteX63" fmla="*/ 2635893 w 5545537"/>
              <a:gd name="connsiteY63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1010 w 5545537"/>
              <a:gd name="connsiteY21" fmla="*/ 6219603 h 6876000"/>
              <a:gd name="connsiteX22" fmla="*/ 624433 w 5545537"/>
              <a:gd name="connsiteY22" fmla="*/ 5771972 h 6876000"/>
              <a:gd name="connsiteX23" fmla="*/ 529659 w 5545537"/>
              <a:gd name="connsiteY23" fmla="*/ 5762418 h 6876000"/>
              <a:gd name="connsiteX24" fmla="*/ 512040 w 5545537"/>
              <a:gd name="connsiteY24" fmla="*/ 5743975 h 6876000"/>
              <a:gd name="connsiteX25" fmla="*/ 426816 w 5545537"/>
              <a:gd name="connsiteY25" fmla="*/ 5735384 h 6876000"/>
              <a:gd name="connsiteX26" fmla="*/ 9971 w 5545537"/>
              <a:gd name="connsiteY26" fmla="*/ 5223932 h 6876000"/>
              <a:gd name="connsiteX27" fmla="*/ 426816 w 5545537"/>
              <a:gd name="connsiteY27" fmla="*/ 4712481 h 6876000"/>
              <a:gd name="connsiteX28" fmla="*/ 512040 w 5545537"/>
              <a:gd name="connsiteY28" fmla="*/ 4703889 h 6876000"/>
              <a:gd name="connsiteX29" fmla="*/ 512040 w 5545537"/>
              <a:gd name="connsiteY29" fmla="*/ 4703511 h 6876000"/>
              <a:gd name="connsiteX30" fmla="*/ 423086 w 5545537"/>
              <a:gd name="connsiteY30" fmla="*/ 4694544 h 6876000"/>
              <a:gd name="connsiteX31" fmla="*/ 0 w 5545537"/>
              <a:gd name="connsiteY31" fmla="*/ 4175435 h 6876000"/>
              <a:gd name="connsiteX32" fmla="*/ 529874 w 5545537"/>
              <a:gd name="connsiteY32" fmla="*/ 3645561 h 6876000"/>
              <a:gd name="connsiteX33" fmla="*/ 1048983 w 5545537"/>
              <a:gd name="connsiteY33" fmla="*/ 4068647 h 6876000"/>
              <a:gd name="connsiteX34" fmla="*/ 1057146 w 5545537"/>
              <a:gd name="connsiteY34" fmla="*/ 4149617 h 6876000"/>
              <a:gd name="connsiteX35" fmla="*/ 1066307 w 5545537"/>
              <a:gd name="connsiteY35" fmla="*/ 4347509 h 6876000"/>
              <a:gd name="connsiteX36" fmla="*/ 1069719 w 5545537"/>
              <a:gd name="connsiteY36" fmla="*/ 4620012 h 6876000"/>
              <a:gd name="connsiteX37" fmla="*/ 1095113 w 5545537"/>
              <a:gd name="connsiteY37" fmla="*/ 4538207 h 6876000"/>
              <a:gd name="connsiteX38" fmla="*/ 1576145 w 5545537"/>
              <a:gd name="connsiteY38" fmla="*/ 4219357 h 6876000"/>
              <a:gd name="connsiteX39" fmla="*/ 1609779 w 5545537"/>
              <a:gd name="connsiteY39" fmla="*/ 4222748 h 6876000"/>
              <a:gd name="connsiteX40" fmla="*/ 1609779 w 5545537"/>
              <a:gd name="connsiteY40" fmla="*/ 4205666 h 6876000"/>
              <a:gd name="connsiteX41" fmla="*/ 1577115 w 5545537"/>
              <a:gd name="connsiteY41" fmla="*/ 4208959 h 6876000"/>
              <a:gd name="connsiteX42" fmla="*/ 1055057 w 5545537"/>
              <a:gd name="connsiteY42" fmla="*/ 3686901 h 6876000"/>
              <a:gd name="connsiteX43" fmla="*/ 1577115 w 5545537"/>
              <a:gd name="connsiteY43" fmla="*/ 3164843 h 6876000"/>
              <a:gd name="connsiteX44" fmla="*/ 2088567 w 5545537"/>
              <a:gd name="connsiteY44" fmla="*/ 3581688 h 6876000"/>
              <a:gd name="connsiteX45" fmla="*/ 2098635 w 5545537"/>
              <a:gd name="connsiteY45" fmla="*/ 3681565 h 6876000"/>
              <a:gd name="connsiteX46" fmla="*/ 2113837 w 5545537"/>
              <a:gd name="connsiteY46" fmla="*/ 3681565 h 6876000"/>
              <a:gd name="connsiteX47" fmla="*/ 2113837 w 5545537"/>
              <a:gd name="connsiteY47" fmla="*/ 2637449 h 6876000"/>
              <a:gd name="connsiteX48" fmla="*/ 2114775 w 5545537"/>
              <a:gd name="connsiteY48" fmla="*/ 2637449 h 6876000"/>
              <a:gd name="connsiteX49" fmla="*/ 2113835 w 5545537"/>
              <a:gd name="connsiteY49" fmla="*/ 2628122 h 6876000"/>
              <a:gd name="connsiteX50" fmla="*/ 2635893 w 5545537"/>
              <a:gd name="connsiteY50" fmla="*/ 2106064 h 6876000"/>
              <a:gd name="connsiteX51" fmla="*/ 2649648 w 5545537"/>
              <a:gd name="connsiteY51" fmla="*/ 2107451 h 6876000"/>
              <a:gd name="connsiteX52" fmla="*/ 2649648 w 5545537"/>
              <a:gd name="connsiteY52" fmla="*/ 2090015 h 6876000"/>
              <a:gd name="connsiteX53" fmla="*/ 2635894 w 5545537"/>
              <a:gd name="connsiteY53" fmla="*/ 2091401 h 6876000"/>
              <a:gd name="connsiteX54" fmla="*/ 2113836 w 5545537"/>
              <a:gd name="connsiteY54" fmla="*/ 1569343 h 6876000"/>
              <a:gd name="connsiteX55" fmla="*/ 2635894 w 5545537"/>
              <a:gd name="connsiteY55" fmla="*/ 1047285 h 6876000"/>
              <a:gd name="connsiteX56" fmla="*/ 2649648 w 5545537"/>
              <a:gd name="connsiteY56" fmla="*/ 1048672 h 6876000"/>
              <a:gd name="connsiteX57" fmla="*/ 2649648 w 5545537"/>
              <a:gd name="connsiteY57" fmla="*/ 1043268 h 6876000"/>
              <a:gd name="connsiteX58" fmla="*/ 2689899 w 5545537"/>
              <a:gd name="connsiteY58" fmla="*/ 1039210 h 6876000"/>
              <a:gd name="connsiteX59" fmla="*/ 2689899 w 5545537"/>
              <a:gd name="connsiteY59" fmla="*/ 1038672 h 6876000"/>
              <a:gd name="connsiteX60" fmla="*/ 2635893 w 5545537"/>
              <a:gd name="connsiteY60" fmla="*/ 1044116 h 6876000"/>
              <a:gd name="connsiteX61" fmla="*/ 2113835 w 5545537"/>
              <a:gd name="connsiteY61" fmla="*/ 522058 h 6876000"/>
              <a:gd name="connsiteX62" fmla="*/ 2635893 w 5545537"/>
              <a:gd name="connsiteY62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1010 w 5545537"/>
              <a:gd name="connsiteY21" fmla="*/ 6219603 h 6876000"/>
              <a:gd name="connsiteX22" fmla="*/ 624433 w 5545537"/>
              <a:gd name="connsiteY22" fmla="*/ 5771972 h 6876000"/>
              <a:gd name="connsiteX23" fmla="*/ 529659 w 5545537"/>
              <a:gd name="connsiteY23" fmla="*/ 5762418 h 6876000"/>
              <a:gd name="connsiteX24" fmla="*/ 426816 w 5545537"/>
              <a:gd name="connsiteY24" fmla="*/ 5735384 h 6876000"/>
              <a:gd name="connsiteX25" fmla="*/ 9971 w 5545537"/>
              <a:gd name="connsiteY25" fmla="*/ 5223932 h 6876000"/>
              <a:gd name="connsiteX26" fmla="*/ 426816 w 5545537"/>
              <a:gd name="connsiteY26" fmla="*/ 4712481 h 6876000"/>
              <a:gd name="connsiteX27" fmla="*/ 512040 w 5545537"/>
              <a:gd name="connsiteY27" fmla="*/ 4703889 h 6876000"/>
              <a:gd name="connsiteX28" fmla="*/ 512040 w 5545537"/>
              <a:gd name="connsiteY28" fmla="*/ 4703511 h 6876000"/>
              <a:gd name="connsiteX29" fmla="*/ 423086 w 5545537"/>
              <a:gd name="connsiteY29" fmla="*/ 4694544 h 6876000"/>
              <a:gd name="connsiteX30" fmla="*/ 0 w 5545537"/>
              <a:gd name="connsiteY30" fmla="*/ 4175435 h 6876000"/>
              <a:gd name="connsiteX31" fmla="*/ 529874 w 5545537"/>
              <a:gd name="connsiteY31" fmla="*/ 3645561 h 6876000"/>
              <a:gd name="connsiteX32" fmla="*/ 1048983 w 5545537"/>
              <a:gd name="connsiteY32" fmla="*/ 4068647 h 6876000"/>
              <a:gd name="connsiteX33" fmla="*/ 1057146 w 5545537"/>
              <a:gd name="connsiteY33" fmla="*/ 4149617 h 6876000"/>
              <a:gd name="connsiteX34" fmla="*/ 1066307 w 5545537"/>
              <a:gd name="connsiteY34" fmla="*/ 4347509 h 6876000"/>
              <a:gd name="connsiteX35" fmla="*/ 1069719 w 5545537"/>
              <a:gd name="connsiteY35" fmla="*/ 4620012 h 6876000"/>
              <a:gd name="connsiteX36" fmla="*/ 1095113 w 5545537"/>
              <a:gd name="connsiteY36" fmla="*/ 4538207 h 6876000"/>
              <a:gd name="connsiteX37" fmla="*/ 1576145 w 5545537"/>
              <a:gd name="connsiteY37" fmla="*/ 4219357 h 6876000"/>
              <a:gd name="connsiteX38" fmla="*/ 1609779 w 5545537"/>
              <a:gd name="connsiteY38" fmla="*/ 4222748 h 6876000"/>
              <a:gd name="connsiteX39" fmla="*/ 1609779 w 5545537"/>
              <a:gd name="connsiteY39" fmla="*/ 4205666 h 6876000"/>
              <a:gd name="connsiteX40" fmla="*/ 1577115 w 5545537"/>
              <a:gd name="connsiteY40" fmla="*/ 4208959 h 6876000"/>
              <a:gd name="connsiteX41" fmla="*/ 1055057 w 5545537"/>
              <a:gd name="connsiteY41" fmla="*/ 3686901 h 6876000"/>
              <a:gd name="connsiteX42" fmla="*/ 1577115 w 5545537"/>
              <a:gd name="connsiteY42" fmla="*/ 3164843 h 6876000"/>
              <a:gd name="connsiteX43" fmla="*/ 2088567 w 5545537"/>
              <a:gd name="connsiteY43" fmla="*/ 3581688 h 6876000"/>
              <a:gd name="connsiteX44" fmla="*/ 2098635 w 5545537"/>
              <a:gd name="connsiteY44" fmla="*/ 3681565 h 6876000"/>
              <a:gd name="connsiteX45" fmla="*/ 2113837 w 5545537"/>
              <a:gd name="connsiteY45" fmla="*/ 3681565 h 6876000"/>
              <a:gd name="connsiteX46" fmla="*/ 2113837 w 5545537"/>
              <a:gd name="connsiteY46" fmla="*/ 2637449 h 6876000"/>
              <a:gd name="connsiteX47" fmla="*/ 2114775 w 5545537"/>
              <a:gd name="connsiteY47" fmla="*/ 2637449 h 6876000"/>
              <a:gd name="connsiteX48" fmla="*/ 2113835 w 5545537"/>
              <a:gd name="connsiteY48" fmla="*/ 2628122 h 6876000"/>
              <a:gd name="connsiteX49" fmla="*/ 2635893 w 5545537"/>
              <a:gd name="connsiteY49" fmla="*/ 2106064 h 6876000"/>
              <a:gd name="connsiteX50" fmla="*/ 2649648 w 5545537"/>
              <a:gd name="connsiteY50" fmla="*/ 2107451 h 6876000"/>
              <a:gd name="connsiteX51" fmla="*/ 2649648 w 5545537"/>
              <a:gd name="connsiteY51" fmla="*/ 2090015 h 6876000"/>
              <a:gd name="connsiteX52" fmla="*/ 2635894 w 5545537"/>
              <a:gd name="connsiteY52" fmla="*/ 2091401 h 6876000"/>
              <a:gd name="connsiteX53" fmla="*/ 2113836 w 5545537"/>
              <a:gd name="connsiteY53" fmla="*/ 1569343 h 6876000"/>
              <a:gd name="connsiteX54" fmla="*/ 2635894 w 5545537"/>
              <a:gd name="connsiteY54" fmla="*/ 1047285 h 6876000"/>
              <a:gd name="connsiteX55" fmla="*/ 2649648 w 5545537"/>
              <a:gd name="connsiteY55" fmla="*/ 1048672 h 6876000"/>
              <a:gd name="connsiteX56" fmla="*/ 2649648 w 5545537"/>
              <a:gd name="connsiteY56" fmla="*/ 1043268 h 6876000"/>
              <a:gd name="connsiteX57" fmla="*/ 2689899 w 5545537"/>
              <a:gd name="connsiteY57" fmla="*/ 1039210 h 6876000"/>
              <a:gd name="connsiteX58" fmla="*/ 2689899 w 5545537"/>
              <a:gd name="connsiteY58" fmla="*/ 1038672 h 6876000"/>
              <a:gd name="connsiteX59" fmla="*/ 2635893 w 5545537"/>
              <a:gd name="connsiteY59" fmla="*/ 1044116 h 6876000"/>
              <a:gd name="connsiteX60" fmla="*/ 2113835 w 5545537"/>
              <a:gd name="connsiteY60" fmla="*/ 522058 h 6876000"/>
              <a:gd name="connsiteX61" fmla="*/ 2635893 w 5545537"/>
              <a:gd name="connsiteY61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1010 w 5545537"/>
              <a:gd name="connsiteY21" fmla="*/ 6219603 h 6876000"/>
              <a:gd name="connsiteX22" fmla="*/ 624433 w 5545537"/>
              <a:gd name="connsiteY22" fmla="*/ 5771972 h 6876000"/>
              <a:gd name="connsiteX23" fmla="*/ 529659 w 5545537"/>
              <a:gd name="connsiteY23" fmla="*/ 5762418 h 6876000"/>
              <a:gd name="connsiteX24" fmla="*/ 426816 w 5545537"/>
              <a:gd name="connsiteY24" fmla="*/ 5735384 h 6876000"/>
              <a:gd name="connsiteX25" fmla="*/ 9971 w 5545537"/>
              <a:gd name="connsiteY25" fmla="*/ 5223932 h 6876000"/>
              <a:gd name="connsiteX26" fmla="*/ 426816 w 5545537"/>
              <a:gd name="connsiteY26" fmla="*/ 4712481 h 6876000"/>
              <a:gd name="connsiteX27" fmla="*/ 512040 w 5545537"/>
              <a:gd name="connsiteY27" fmla="*/ 4703889 h 6876000"/>
              <a:gd name="connsiteX28" fmla="*/ 512040 w 5545537"/>
              <a:gd name="connsiteY28" fmla="*/ 4703511 h 6876000"/>
              <a:gd name="connsiteX29" fmla="*/ 423086 w 5545537"/>
              <a:gd name="connsiteY29" fmla="*/ 4694544 h 6876000"/>
              <a:gd name="connsiteX30" fmla="*/ 0 w 5545537"/>
              <a:gd name="connsiteY30" fmla="*/ 4175435 h 6876000"/>
              <a:gd name="connsiteX31" fmla="*/ 529874 w 5545537"/>
              <a:gd name="connsiteY31" fmla="*/ 3645561 h 6876000"/>
              <a:gd name="connsiteX32" fmla="*/ 1048983 w 5545537"/>
              <a:gd name="connsiteY32" fmla="*/ 4068647 h 6876000"/>
              <a:gd name="connsiteX33" fmla="*/ 1057146 w 5545537"/>
              <a:gd name="connsiteY33" fmla="*/ 4149617 h 6876000"/>
              <a:gd name="connsiteX34" fmla="*/ 1069719 w 5545537"/>
              <a:gd name="connsiteY34" fmla="*/ 4620012 h 6876000"/>
              <a:gd name="connsiteX35" fmla="*/ 1095113 w 5545537"/>
              <a:gd name="connsiteY35" fmla="*/ 4538207 h 6876000"/>
              <a:gd name="connsiteX36" fmla="*/ 1576145 w 5545537"/>
              <a:gd name="connsiteY36" fmla="*/ 4219357 h 6876000"/>
              <a:gd name="connsiteX37" fmla="*/ 1609779 w 5545537"/>
              <a:gd name="connsiteY37" fmla="*/ 4222748 h 6876000"/>
              <a:gd name="connsiteX38" fmla="*/ 1609779 w 5545537"/>
              <a:gd name="connsiteY38" fmla="*/ 4205666 h 6876000"/>
              <a:gd name="connsiteX39" fmla="*/ 1577115 w 5545537"/>
              <a:gd name="connsiteY39" fmla="*/ 4208959 h 6876000"/>
              <a:gd name="connsiteX40" fmla="*/ 1055057 w 5545537"/>
              <a:gd name="connsiteY40" fmla="*/ 3686901 h 6876000"/>
              <a:gd name="connsiteX41" fmla="*/ 1577115 w 5545537"/>
              <a:gd name="connsiteY41" fmla="*/ 3164843 h 6876000"/>
              <a:gd name="connsiteX42" fmla="*/ 2088567 w 5545537"/>
              <a:gd name="connsiteY42" fmla="*/ 3581688 h 6876000"/>
              <a:gd name="connsiteX43" fmla="*/ 2098635 w 5545537"/>
              <a:gd name="connsiteY43" fmla="*/ 3681565 h 6876000"/>
              <a:gd name="connsiteX44" fmla="*/ 2113837 w 5545537"/>
              <a:gd name="connsiteY44" fmla="*/ 3681565 h 6876000"/>
              <a:gd name="connsiteX45" fmla="*/ 2113837 w 5545537"/>
              <a:gd name="connsiteY45" fmla="*/ 2637449 h 6876000"/>
              <a:gd name="connsiteX46" fmla="*/ 2114775 w 5545537"/>
              <a:gd name="connsiteY46" fmla="*/ 2637449 h 6876000"/>
              <a:gd name="connsiteX47" fmla="*/ 2113835 w 5545537"/>
              <a:gd name="connsiteY47" fmla="*/ 2628122 h 6876000"/>
              <a:gd name="connsiteX48" fmla="*/ 2635893 w 5545537"/>
              <a:gd name="connsiteY48" fmla="*/ 2106064 h 6876000"/>
              <a:gd name="connsiteX49" fmla="*/ 2649648 w 5545537"/>
              <a:gd name="connsiteY49" fmla="*/ 2107451 h 6876000"/>
              <a:gd name="connsiteX50" fmla="*/ 2649648 w 5545537"/>
              <a:gd name="connsiteY50" fmla="*/ 2090015 h 6876000"/>
              <a:gd name="connsiteX51" fmla="*/ 2635894 w 5545537"/>
              <a:gd name="connsiteY51" fmla="*/ 2091401 h 6876000"/>
              <a:gd name="connsiteX52" fmla="*/ 2113836 w 5545537"/>
              <a:gd name="connsiteY52" fmla="*/ 1569343 h 6876000"/>
              <a:gd name="connsiteX53" fmla="*/ 2635894 w 5545537"/>
              <a:gd name="connsiteY53" fmla="*/ 1047285 h 6876000"/>
              <a:gd name="connsiteX54" fmla="*/ 2649648 w 5545537"/>
              <a:gd name="connsiteY54" fmla="*/ 1048672 h 6876000"/>
              <a:gd name="connsiteX55" fmla="*/ 2649648 w 5545537"/>
              <a:gd name="connsiteY55" fmla="*/ 1043268 h 6876000"/>
              <a:gd name="connsiteX56" fmla="*/ 2689899 w 5545537"/>
              <a:gd name="connsiteY56" fmla="*/ 1039210 h 6876000"/>
              <a:gd name="connsiteX57" fmla="*/ 2689899 w 5545537"/>
              <a:gd name="connsiteY57" fmla="*/ 1038672 h 6876000"/>
              <a:gd name="connsiteX58" fmla="*/ 2635893 w 5545537"/>
              <a:gd name="connsiteY58" fmla="*/ 1044116 h 6876000"/>
              <a:gd name="connsiteX59" fmla="*/ 2113835 w 5545537"/>
              <a:gd name="connsiteY59" fmla="*/ 522058 h 6876000"/>
              <a:gd name="connsiteX60" fmla="*/ 2635893 w 5545537"/>
              <a:gd name="connsiteY60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1010 w 5545537"/>
              <a:gd name="connsiteY21" fmla="*/ 6219603 h 6876000"/>
              <a:gd name="connsiteX22" fmla="*/ 624433 w 5545537"/>
              <a:gd name="connsiteY22" fmla="*/ 5771972 h 6876000"/>
              <a:gd name="connsiteX23" fmla="*/ 426816 w 5545537"/>
              <a:gd name="connsiteY23" fmla="*/ 5735384 h 6876000"/>
              <a:gd name="connsiteX24" fmla="*/ 9971 w 5545537"/>
              <a:gd name="connsiteY24" fmla="*/ 5223932 h 6876000"/>
              <a:gd name="connsiteX25" fmla="*/ 426816 w 5545537"/>
              <a:gd name="connsiteY25" fmla="*/ 4712481 h 6876000"/>
              <a:gd name="connsiteX26" fmla="*/ 512040 w 5545537"/>
              <a:gd name="connsiteY26" fmla="*/ 4703889 h 6876000"/>
              <a:gd name="connsiteX27" fmla="*/ 512040 w 5545537"/>
              <a:gd name="connsiteY27" fmla="*/ 4703511 h 6876000"/>
              <a:gd name="connsiteX28" fmla="*/ 423086 w 5545537"/>
              <a:gd name="connsiteY28" fmla="*/ 4694544 h 6876000"/>
              <a:gd name="connsiteX29" fmla="*/ 0 w 5545537"/>
              <a:gd name="connsiteY29" fmla="*/ 4175435 h 6876000"/>
              <a:gd name="connsiteX30" fmla="*/ 529874 w 5545537"/>
              <a:gd name="connsiteY30" fmla="*/ 3645561 h 6876000"/>
              <a:gd name="connsiteX31" fmla="*/ 1048983 w 5545537"/>
              <a:gd name="connsiteY31" fmla="*/ 4068647 h 6876000"/>
              <a:gd name="connsiteX32" fmla="*/ 1057146 w 5545537"/>
              <a:gd name="connsiteY32" fmla="*/ 4149617 h 6876000"/>
              <a:gd name="connsiteX33" fmla="*/ 1069719 w 5545537"/>
              <a:gd name="connsiteY33" fmla="*/ 4620012 h 6876000"/>
              <a:gd name="connsiteX34" fmla="*/ 1095113 w 5545537"/>
              <a:gd name="connsiteY34" fmla="*/ 4538207 h 6876000"/>
              <a:gd name="connsiteX35" fmla="*/ 1576145 w 5545537"/>
              <a:gd name="connsiteY35" fmla="*/ 4219357 h 6876000"/>
              <a:gd name="connsiteX36" fmla="*/ 1609779 w 5545537"/>
              <a:gd name="connsiteY36" fmla="*/ 4222748 h 6876000"/>
              <a:gd name="connsiteX37" fmla="*/ 1609779 w 5545537"/>
              <a:gd name="connsiteY37" fmla="*/ 4205666 h 6876000"/>
              <a:gd name="connsiteX38" fmla="*/ 1577115 w 5545537"/>
              <a:gd name="connsiteY38" fmla="*/ 4208959 h 6876000"/>
              <a:gd name="connsiteX39" fmla="*/ 1055057 w 5545537"/>
              <a:gd name="connsiteY39" fmla="*/ 3686901 h 6876000"/>
              <a:gd name="connsiteX40" fmla="*/ 1577115 w 5545537"/>
              <a:gd name="connsiteY40" fmla="*/ 3164843 h 6876000"/>
              <a:gd name="connsiteX41" fmla="*/ 2088567 w 5545537"/>
              <a:gd name="connsiteY41" fmla="*/ 3581688 h 6876000"/>
              <a:gd name="connsiteX42" fmla="*/ 2098635 w 5545537"/>
              <a:gd name="connsiteY42" fmla="*/ 3681565 h 6876000"/>
              <a:gd name="connsiteX43" fmla="*/ 2113837 w 5545537"/>
              <a:gd name="connsiteY43" fmla="*/ 3681565 h 6876000"/>
              <a:gd name="connsiteX44" fmla="*/ 2113837 w 5545537"/>
              <a:gd name="connsiteY44" fmla="*/ 2637449 h 6876000"/>
              <a:gd name="connsiteX45" fmla="*/ 2114775 w 5545537"/>
              <a:gd name="connsiteY45" fmla="*/ 2637449 h 6876000"/>
              <a:gd name="connsiteX46" fmla="*/ 2113835 w 5545537"/>
              <a:gd name="connsiteY46" fmla="*/ 2628122 h 6876000"/>
              <a:gd name="connsiteX47" fmla="*/ 2635893 w 5545537"/>
              <a:gd name="connsiteY47" fmla="*/ 2106064 h 6876000"/>
              <a:gd name="connsiteX48" fmla="*/ 2649648 w 5545537"/>
              <a:gd name="connsiteY48" fmla="*/ 2107451 h 6876000"/>
              <a:gd name="connsiteX49" fmla="*/ 2649648 w 5545537"/>
              <a:gd name="connsiteY49" fmla="*/ 2090015 h 6876000"/>
              <a:gd name="connsiteX50" fmla="*/ 2635894 w 5545537"/>
              <a:gd name="connsiteY50" fmla="*/ 2091401 h 6876000"/>
              <a:gd name="connsiteX51" fmla="*/ 2113836 w 5545537"/>
              <a:gd name="connsiteY51" fmla="*/ 1569343 h 6876000"/>
              <a:gd name="connsiteX52" fmla="*/ 2635894 w 5545537"/>
              <a:gd name="connsiteY52" fmla="*/ 1047285 h 6876000"/>
              <a:gd name="connsiteX53" fmla="*/ 2649648 w 5545537"/>
              <a:gd name="connsiteY53" fmla="*/ 1048672 h 6876000"/>
              <a:gd name="connsiteX54" fmla="*/ 2649648 w 5545537"/>
              <a:gd name="connsiteY54" fmla="*/ 1043268 h 6876000"/>
              <a:gd name="connsiteX55" fmla="*/ 2689899 w 5545537"/>
              <a:gd name="connsiteY55" fmla="*/ 1039210 h 6876000"/>
              <a:gd name="connsiteX56" fmla="*/ 2689899 w 5545537"/>
              <a:gd name="connsiteY56" fmla="*/ 1038672 h 6876000"/>
              <a:gd name="connsiteX57" fmla="*/ 2635893 w 5545537"/>
              <a:gd name="connsiteY57" fmla="*/ 1044116 h 6876000"/>
              <a:gd name="connsiteX58" fmla="*/ 2113835 w 5545537"/>
              <a:gd name="connsiteY58" fmla="*/ 522058 h 6876000"/>
              <a:gd name="connsiteX59" fmla="*/ 2635893 w 5545537"/>
              <a:gd name="connsiteY59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17891 w 5545537"/>
              <a:gd name="connsiteY14" fmla="*/ 6858537 h 6876000"/>
              <a:gd name="connsiteX15" fmla="*/ 1609779 w 5545537"/>
              <a:gd name="connsiteY15" fmla="*/ 6858537 h 6876000"/>
              <a:gd name="connsiteX16" fmla="*/ 1069719 w 5545537"/>
              <a:gd name="connsiteY16" fmla="*/ 6858537 h 6876000"/>
              <a:gd name="connsiteX17" fmla="*/ 1069719 w 5545537"/>
              <a:gd name="connsiteY17" fmla="*/ 6318334 h 6876000"/>
              <a:gd name="connsiteX18" fmla="*/ 1069720 w 5545537"/>
              <a:gd name="connsiteY18" fmla="*/ 6318321 h 6876000"/>
              <a:gd name="connsiteX19" fmla="*/ 1069719 w 5545537"/>
              <a:gd name="connsiteY19" fmla="*/ 6318310 h 6876000"/>
              <a:gd name="connsiteX20" fmla="*/ 1061010 w 5545537"/>
              <a:gd name="connsiteY20" fmla="*/ 6219603 h 6876000"/>
              <a:gd name="connsiteX21" fmla="*/ 624433 w 5545537"/>
              <a:gd name="connsiteY21" fmla="*/ 5771972 h 6876000"/>
              <a:gd name="connsiteX22" fmla="*/ 426816 w 5545537"/>
              <a:gd name="connsiteY22" fmla="*/ 5735384 h 6876000"/>
              <a:gd name="connsiteX23" fmla="*/ 9971 w 5545537"/>
              <a:gd name="connsiteY23" fmla="*/ 5223932 h 6876000"/>
              <a:gd name="connsiteX24" fmla="*/ 426816 w 5545537"/>
              <a:gd name="connsiteY24" fmla="*/ 4712481 h 6876000"/>
              <a:gd name="connsiteX25" fmla="*/ 512040 w 5545537"/>
              <a:gd name="connsiteY25" fmla="*/ 4703889 h 6876000"/>
              <a:gd name="connsiteX26" fmla="*/ 512040 w 5545537"/>
              <a:gd name="connsiteY26" fmla="*/ 4703511 h 6876000"/>
              <a:gd name="connsiteX27" fmla="*/ 423086 w 5545537"/>
              <a:gd name="connsiteY27" fmla="*/ 4694544 h 6876000"/>
              <a:gd name="connsiteX28" fmla="*/ 0 w 5545537"/>
              <a:gd name="connsiteY28" fmla="*/ 4175435 h 6876000"/>
              <a:gd name="connsiteX29" fmla="*/ 529874 w 5545537"/>
              <a:gd name="connsiteY29" fmla="*/ 3645561 h 6876000"/>
              <a:gd name="connsiteX30" fmla="*/ 1048983 w 5545537"/>
              <a:gd name="connsiteY30" fmla="*/ 4068647 h 6876000"/>
              <a:gd name="connsiteX31" fmla="*/ 1057146 w 5545537"/>
              <a:gd name="connsiteY31" fmla="*/ 4149617 h 6876000"/>
              <a:gd name="connsiteX32" fmla="*/ 1069719 w 5545537"/>
              <a:gd name="connsiteY32" fmla="*/ 4620012 h 6876000"/>
              <a:gd name="connsiteX33" fmla="*/ 1095113 w 5545537"/>
              <a:gd name="connsiteY33" fmla="*/ 4538207 h 6876000"/>
              <a:gd name="connsiteX34" fmla="*/ 1576145 w 5545537"/>
              <a:gd name="connsiteY34" fmla="*/ 4219357 h 6876000"/>
              <a:gd name="connsiteX35" fmla="*/ 1609779 w 5545537"/>
              <a:gd name="connsiteY35" fmla="*/ 4222748 h 6876000"/>
              <a:gd name="connsiteX36" fmla="*/ 1609779 w 5545537"/>
              <a:gd name="connsiteY36" fmla="*/ 4205666 h 6876000"/>
              <a:gd name="connsiteX37" fmla="*/ 1577115 w 5545537"/>
              <a:gd name="connsiteY37" fmla="*/ 4208959 h 6876000"/>
              <a:gd name="connsiteX38" fmla="*/ 1055057 w 5545537"/>
              <a:gd name="connsiteY38" fmla="*/ 3686901 h 6876000"/>
              <a:gd name="connsiteX39" fmla="*/ 1577115 w 5545537"/>
              <a:gd name="connsiteY39" fmla="*/ 3164843 h 6876000"/>
              <a:gd name="connsiteX40" fmla="*/ 2088567 w 5545537"/>
              <a:gd name="connsiteY40" fmla="*/ 3581688 h 6876000"/>
              <a:gd name="connsiteX41" fmla="*/ 2098635 w 5545537"/>
              <a:gd name="connsiteY41" fmla="*/ 3681565 h 6876000"/>
              <a:gd name="connsiteX42" fmla="*/ 2113837 w 5545537"/>
              <a:gd name="connsiteY42" fmla="*/ 3681565 h 6876000"/>
              <a:gd name="connsiteX43" fmla="*/ 2113837 w 5545537"/>
              <a:gd name="connsiteY43" fmla="*/ 2637449 h 6876000"/>
              <a:gd name="connsiteX44" fmla="*/ 2114775 w 5545537"/>
              <a:gd name="connsiteY44" fmla="*/ 2637449 h 6876000"/>
              <a:gd name="connsiteX45" fmla="*/ 2113835 w 5545537"/>
              <a:gd name="connsiteY45" fmla="*/ 2628122 h 6876000"/>
              <a:gd name="connsiteX46" fmla="*/ 2635893 w 5545537"/>
              <a:gd name="connsiteY46" fmla="*/ 2106064 h 6876000"/>
              <a:gd name="connsiteX47" fmla="*/ 2649648 w 5545537"/>
              <a:gd name="connsiteY47" fmla="*/ 2107451 h 6876000"/>
              <a:gd name="connsiteX48" fmla="*/ 2649648 w 5545537"/>
              <a:gd name="connsiteY48" fmla="*/ 2090015 h 6876000"/>
              <a:gd name="connsiteX49" fmla="*/ 2635894 w 5545537"/>
              <a:gd name="connsiteY49" fmla="*/ 2091401 h 6876000"/>
              <a:gd name="connsiteX50" fmla="*/ 2113836 w 5545537"/>
              <a:gd name="connsiteY50" fmla="*/ 1569343 h 6876000"/>
              <a:gd name="connsiteX51" fmla="*/ 2635894 w 5545537"/>
              <a:gd name="connsiteY51" fmla="*/ 1047285 h 6876000"/>
              <a:gd name="connsiteX52" fmla="*/ 2649648 w 5545537"/>
              <a:gd name="connsiteY52" fmla="*/ 1048672 h 6876000"/>
              <a:gd name="connsiteX53" fmla="*/ 2649648 w 5545537"/>
              <a:gd name="connsiteY53" fmla="*/ 1043268 h 6876000"/>
              <a:gd name="connsiteX54" fmla="*/ 2689899 w 5545537"/>
              <a:gd name="connsiteY54" fmla="*/ 1039210 h 6876000"/>
              <a:gd name="connsiteX55" fmla="*/ 2689899 w 5545537"/>
              <a:gd name="connsiteY55" fmla="*/ 1038672 h 6876000"/>
              <a:gd name="connsiteX56" fmla="*/ 2635893 w 5545537"/>
              <a:gd name="connsiteY56" fmla="*/ 1044116 h 6876000"/>
              <a:gd name="connsiteX57" fmla="*/ 2113835 w 5545537"/>
              <a:gd name="connsiteY57" fmla="*/ 522058 h 6876000"/>
              <a:gd name="connsiteX58" fmla="*/ 2635893 w 5545537"/>
              <a:gd name="connsiteY58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1609779 w 5545537"/>
              <a:gd name="connsiteY14" fmla="*/ 6858537 h 6876000"/>
              <a:gd name="connsiteX15" fmla="*/ 1069719 w 5545537"/>
              <a:gd name="connsiteY15" fmla="*/ 6858537 h 6876000"/>
              <a:gd name="connsiteX16" fmla="*/ 1069719 w 5545537"/>
              <a:gd name="connsiteY16" fmla="*/ 6318334 h 6876000"/>
              <a:gd name="connsiteX17" fmla="*/ 1069720 w 5545537"/>
              <a:gd name="connsiteY17" fmla="*/ 6318321 h 6876000"/>
              <a:gd name="connsiteX18" fmla="*/ 1069719 w 5545537"/>
              <a:gd name="connsiteY18" fmla="*/ 6318310 h 6876000"/>
              <a:gd name="connsiteX19" fmla="*/ 1061010 w 5545537"/>
              <a:gd name="connsiteY19" fmla="*/ 6219603 h 6876000"/>
              <a:gd name="connsiteX20" fmla="*/ 624433 w 5545537"/>
              <a:gd name="connsiteY20" fmla="*/ 5771972 h 6876000"/>
              <a:gd name="connsiteX21" fmla="*/ 426816 w 5545537"/>
              <a:gd name="connsiteY21" fmla="*/ 5735384 h 6876000"/>
              <a:gd name="connsiteX22" fmla="*/ 9971 w 5545537"/>
              <a:gd name="connsiteY22" fmla="*/ 5223932 h 6876000"/>
              <a:gd name="connsiteX23" fmla="*/ 426816 w 5545537"/>
              <a:gd name="connsiteY23" fmla="*/ 4712481 h 6876000"/>
              <a:gd name="connsiteX24" fmla="*/ 512040 w 5545537"/>
              <a:gd name="connsiteY24" fmla="*/ 4703889 h 6876000"/>
              <a:gd name="connsiteX25" fmla="*/ 512040 w 5545537"/>
              <a:gd name="connsiteY25" fmla="*/ 4703511 h 6876000"/>
              <a:gd name="connsiteX26" fmla="*/ 423086 w 5545537"/>
              <a:gd name="connsiteY26" fmla="*/ 4694544 h 6876000"/>
              <a:gd name="connsiteX27" fmla="*/ 0 w 5545537"/>
              <a:gd name="connsiteY27" fmla="*/ 4175435 h 6876000"/>
              <a:gd name="connsiteX28" fmla="*/ 529874 w 5545537"/>
              <a:gd name="connsiteY28" fmla="*/ 3645561 h 6876000"/>
              <a:gd name="connsiteX29" fmla="*/ 1048983 w 5545537"/>
              <a:gd name="connsiteY29" fmla="*/ 4068647 h 6876000"/>
              <a:gd name="connsiteX30" fmla="*/ 1057146 w 5545537"/>
              <a:gd name="connsiteY30" fmla="*/ 4149617 h 6876000"/>
              <a:gd name="connsiteX31" fmla="*/ 1069719 w 5545537"/>
              <a:gd name="connsiteY31" fmla="*/ 4620012 h 6876000"/>
              <a:gd name="connsiteX32" fmla="*/ 1095113 w 5545537"/>
              <a:gd name="connsiteY32" fmla="*/ 4538207 h 6876000"/>
              <a:gd name="connsiteX33" fmla="*/ 1576145 w 5545537"/>
              <a:gd name="connsiteY33" fmla="*/ 4219357 h 6876000"/>
              <a:gd name="connsiteX34" fmla="*/ 1609779 w 5545537"/>
              <a:gd name="connsiteY34" fmla="*/ 4222748 h 6876000"/>
              <a:gd name="connsiteX35" fmla="*/ 1609779 w 5545537"/>
              <a:gd name="connsiteY35" fmla="*/ 4205666 h 6876000"/>
              <a:gd name="connsiteX36" fmla="*/ 1577115 w 5545537"/>
              <a:gd name="connsiteY36" fmla="*/ 4208959 h 6876000"/>
              <a:gd name="connsiteX37" fmla="*/ 1055057 w 5545537"/>
              <a:gd name="connsiteY37" fmla="*/ 3686901 h 6876000"/>
              <a:gd name="connsiteX38" fmla="*/ 1577115 w 5545537"/>
              <a:gd name="connsiteY38" fmla="*/ 3164843 h 6876000"/>
              <a:gd name="connsiteX39" fmla="*/ 2088567 w 5545537"/>
              <a:gd name="connsiteY39" fmla="*/ 3581688 h 6876000"/>
              <a:gd name="connsiteX40" fmla="*/ 2098635 w 5545537"/>
              <a:gd name="connsiteY40" fmla="*/ 3681565 h 6876000"/>
              <a:gd name="connsiteX41" fmla="*/ 2113837 w 5545537"/>
              <a:gd name="connsiteY41" fmla="*/ 3681565 h 6876000"/>
              <a:gd name="connsiteX42" fmla="*/ 2113837 w 5545537"/>
              <a:gd name="connsiteY42" fmla="*/ 2637449 h 6876000"/>
              <a:gd name="connsiteX43" fmla="*/ 2114775 w 5545537"/>
              <a:gd name="connsiteY43" fmla="*/ 2637449 h 6876000"/>
              <a:gd name="connsiteX44" fmla="*/ 2113835 w 5545537"/>
              <a:gd name="connsiteY44" fmla="*/ 2628122 h 6876000"/>
              <a:gd name="connsiteX45" fmla="*/ 2635893 w 5545537"/>
              <a:gd name="connsiteY45" fmla="*/ 2106064 h 6876000"/>
              <a:gd name="connsiteX46" fmla="*/ 2649648 w 5545537"/>
              <a:gd name="connsiteY46" fmla="*/ 2107451 h 6876000"/>
              <a:gd name="connsiteX47" fmla="*/ 2649648 w 5545537"/>
              <a:gd name="connsiteY47" fmla="*/ 2090015 h 6876000"/>
              <a:gd name="connsiteX48" fmla="*/ 2635894 w 5545537"/>
              <a:gd name="connsiteY48" fmla="*/ 2091401 h 6876000"/>
              <a:gd name="connsiteX49" fmla="*/ 2113836 w 5545537"/>
              <a:gd name="connsiteY49" fmla="*/ 1569343 h 6876000"/>
              <a:gd name="connsiteX50" fmla="*/ 2635894 w 5545537"/>
              <a:gd name="connsiteY50" fmla="*/ 1047285 h 6876000"/>
              <a:gd name="connsiteX51" fmla="*/ 2649648 w 5545537"/>
              <a:gd name="connsiteY51" fmla="*/ 1048672 h 6876000"/>
              <a:gd name="connsiteX52" fmla="*/ 2649648 w 5545537"/>
              <a:gd name="connsiteY52" fmla="*/ 1043268 h 6876000"/>
              <a:gd name="connsiteX53" fmla="*/ 2689899 w 5545537"/>
              <a:gd name="connsiteY53" fmla="*/ 1039210 h 6876000"/>
              <a:gd name="connsiteX54" fmla="*/ 2689899 w 5545537"/>
              <a:gd name="connsiteY54" fmla="*/ 1038672 h 6876000"/>
              <a:gd name="connsiteX55" fmla="*/ 2635893 w 5545537"/>
              <a:gd name="connsiteY55" fmla="*/ 1044116 h 6876000"/>
              <a:gd name="connsiteX56" fmla="*/ 2113835 w 5545537"/>
              <a:gd name="connsiteY56" fmla="*/ 522058 h 6876000"/>
              <a:gd name="connsiteX57" fmla="*/ 2635893 w 5545537"/>
              <a:gd name="connsiteY57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1069719 w 5545537"/>
              <a:gd name="connsiteY14" fmla="*/ 6858537 h 6876000"/>
              <a:gd name="connsiteX15" fmla="*/ 1069719 w 5545537"/>
              <a:gd name="connsiteY15" fmla="*/ 6318334 h 6876000"/>
              <a:gd name="connsiteX16" fmla="*/ 1069720 w 5545537"/>
              <a:gd name="connsiteY16" fmla="*/ 6318321 h 6876000"/>
              <a:gd name="connsiteX17" fmla="*/ 1069719 w 5545537"/>
              <a:gd name="connsiteY17" fmla="*/ 6318310 h 6876000"/>
              <a:gd name="connsiteX18" fmla="*/ 1061010 w 5545537"/>
              <a:gd name="connsiteY18" fmla="*/ 6219603 h 6876000"/>
              <a:gd name="connsiteX19" fmla="*/ 624433 w 5545537"/>
              <a:gd name="connsiteY19" fmla="*/ 5771972 h 6876000"/>
              <a:gd name="connsiteX20" fmla="*/ 426816 w 5545537"/>
              <a:gd name="connsiteY20" fmla="*/ 5735384 h 6876000"/>
              <a:gd name="connsiteX21" fmla="*/ 9971 w 5545537"/>
              <a:gd name="connsiteY21" fmla="*/ 5223932 h 6876000"/>
              <a:gd name="connsiteX22" fmla="*/ 426816 w 5545537"/>
              <a:gd name="connsiteY22" fmla="*/ 4712481 h 6876000"/>
              <a:gd name="connsiteX23" fmla="*/ 512040 w 5545537"/>
              <a:gd name="connsiteY23" fmla="*/ 4703889 h 6876000"/>
              <a:gd name="connsiteX24" fmla="*/ 512040 w 5545537"/>
              <a:gd name="connsiteY24" fmla="*/ 4703511 h 6876000"/>
              <a:gd name="connsiteX25" fmla="*/ 423086 w 5545537"/>
              <a:gd name="connsiteY25" fmla="*/ 4694544 h 6876000"/>
              <a:gd name="connsiteX26" fmla="*/ 0 w 5545537"/>
              <a:gd name="connsiteY26" fmla="*/ 4175435 h 6876000"/>
              <a:gd name="connsiteX27" fmla="*/ 529874 w 5545537"/>
              <a:gd name="connsiteY27" fmla="*/ 3645561 h 6876000"/>
              <a:gd name="connsiteX28" fmla="*/ 1048983 w 5545537"/>
              <a:gd name="connsiteY28" fmla="*/ 4068647 h 6876000"/>
              <a:gd name="connsiteX29" fmla="*/ 1057146 w 5545537"/>
              <a:gd name="connsiteY29" fmla="*/ 4149617 h 6876000"/>
              <a:gd name="connsiteX30" fmla="*/ 1069719 w 5545537"/>
              <a:gd name="connsiteY30" fmla="*/ 4620012 h 6876000"/>
              <a:gd name="connsiteX31" fmla="*/ 1095113 w 5545537"/>
              <a:gd name="connsiteY31" fmla="*/ 4538207 h 6876000"/>
              <a:gd name="connsiteX32" fmla="*/ 1576145 w 5545537"/>
              <a:gd name="connsiteY32" fmla="*/ 4219357 h 6876000"/>
              <a:gd name="connsiteX33" fmla="*/ 1609779 w 5545537"/>
              <a:gd name="connsiteY33" fmla="*/ 4222748 h 6876000"/>
              <a:gd name="connsiteX34" fmla="*/ 1609779 w 5545537"/>
              <a:gd name="connsiteY34" fmla="*/ 4205666 h 6876000"/>
              <a:gd name="connsiteX35" fmla="*/ 1577115 w 5545537"/>
              <a:gd name="connsiteY35" fmla="*/ 4208959 h 6876000"/>
              <a:gd name="connsiteX36" fmla="*/ 1055057 w 5545537"/>
              <a:gd name="connsiteY36" fmla="*/ 3686901 h 6876000"/>
              <a:gd name="connsiteX37" fmla="*/ 1577115 w 5545537"/>
              <a:gd name="connsiteY37" fmla="*/ 3164843 h 6876000"/>
              <a:gd name="connsiteX38" fmla="*/ 2088567 w 5545537"/>
              <a:gd name="connsiteY38" fmla="*/ 3581688 h 6876000"/>
              <a:gd name="connsiteX39" fmla="*/ 2098635 w 5545537"/>
              <a:gd name="connsiteY39" fmla="*/ 3681565 h 6876000"/>
              <a:gd name="connsiteX40" fmla="*/ 2113837 w 5545537"/>
              <a:gd name="connsiteY40" fmla="*/ 3681565 h 6876000"/>
              <a:gd name="connsiteX41" fmla="*/ 2113837 w 5545537"/>
              <a:gd name="connsiteY41" fmla="*/ 2637449 h 6876000"/>
              <a:gd name="connsiteX42" fmla="*/ 2114775 w 5545537"/>
              <a:gd name="connsiteY42" fmla="*/ 2637449 h 6876000"/>
              <a:gd name="connsiteX43" fmla="*/ 2113835 w 5545537"/>
              <a:gd name="connsiteY43" fmla="*/ 2628122 h 6876000"/>
              <a:gd name="connsiteX44" fmla="*/ 2635893 w 5545537"/>
              <a:gd name="connsiteY44" fmla="*/ 2106064 h 6876000"/>
              <a:gd name="connsiteX45" fmla="*/ 2649648 w 5545537"/>
              <a:gd name="connsiteY45" fmla="*/ 2107451 h 6876000"/>
              <a:gd name="connsiteX46" fmla="*/ 2649648 w 5545537"/>
              <a:gd name="connsiteY46" fmla="*/ 2090015 h 6876000"/>
              <a:gd name="connsiteX47" fmla="*/ 2635894 w 5545537"/>
              <a:gd name="connsiteY47" fmla="*/ 2091401 h 6876000"/>
              <a:gd name="connsiteX48" fmla="*/ 2113836 w 5545537"/>
              <a:gd name="connsiteY48" fmla="*/ 1569343 h 6876000"/>
              <a:gd name="connsiteX49" fmla="*/ 2635894 w 5545537"/>
              <a:gd name="connsiteY49" fmla="*/ 1047285 h 6876000"/>
              <a:gd name="connsiteX50" fmla="*/ 2649648 w 5545537"/>
              <a:gd name="connsiteY50" fmla="*/ 1048672 h 6876000"/>
              <a:gd name="connsiteX51" fmla="*/ 2649648 w 5545537"/>
              <a:gd name="connsiteY51" fmla="*/ 1043268 h 6876000"/>
              <a:gd name="connsiteX52" fmla="*/ 2689899 w 5545537"/>
              <a:gd name="connsiteY52" fmla="*/ 1039210 h 6876000"/>
              <a:gd name="connsiteX53" fmla="*/ 2689899 w 5545537"/>
              <a:gd name="connsiteY53" fmla="*/ 1038672 h 6876000"/>
              <a:gd name="connsiteX54" fmla="*/ 2635893 w 5545537"/>
              <a:gd name="connsiteY54" fmla="*/ 1044116 h 6876000"/>
              <a:gd name="connsiteX55" fmla="*/ 2113835 w 5545537"/>
              <a:gd name="connsiteY55" fmla="*/ 522058 h 6876000"/>
              <a:gd name="connsiteX56" fmla="*/ 2635893 w 5545537"/>
              <a:gd name="connsiteY56" fmla="*/ 0 h 6876000"/>
              <a:gd name="connsiteX0" fmla="*/ 1577115 w 5545537"/>
              <a:gd name="connsiteY0" fmla="*/ 2106064 h 6922831"/>
              <a:gd name="connsiteX1" fmla="*/ 2099173 w 5545537"/>
              <a:gd name="connsiteY1" fmla="*/ 2628122 h 6922831"/>
              <a:gd name="connsiteX2" fmla="*/ 1577115 w 5545537"/>
              <a:gd name="connsiteY2" fmla="*/ 3150180 h 6922831"/>
              <a:gd name="connsiteX3" fmla="*/ 1055057 w 5545537"/>
              <a:gd name="connsiteY3" fmla="*/ 2628122 h 6922831"/>
              <a:gd name="connsiteX4" fmla="*/ 1577115 w 5545537"/>
              <a:gd name="connsiteY4" fmla="*/ 2106064 h 6922831"/>
              <a:gd name="connsiteX5" fmla="*/ 2635893 w 5545537"/>
              <a:gd name="connsiteY5" fmla="*/ 0 h 6922831"/>
              <a:gd name="connsiteX6" fmla="*/ 2649648 w 5545537"/>
              <a:gd name="connsiteY6" fmla="*/ 1387 h 6922831"/>
              <a:gd name="connsiteX7" fmla="*/ 2649648 w 5545537"/>
              <a:gd name="connsiteY7" fmla="*/ 537 h 6922831"/>
              <a:gd name="connsiteX8" fmla="*/ 2689899 w 5545537"/>
              <a:gd name="connsiteY8" fmla="*/ 537 h 6922831"/>
              <a:gd name="connsiteX9" fmla="*/ 2689899 w 5545537"/>
              <a:gd name="connsiteY9" fmla="*/ 0 h 6922831"/>
              <a:gd name="connsiteX10" fmla="*/ 3846766 w 5545537"/>
              <a:gd name="connsiteY10" fmla="*/ 0 h 6922831"/>
              <a:gd name="connsiteX11" fmla="*/ 3846766 w 5545537"/>
              <a:gd name="connsiteY11" fmla="*/ 537 h 6922831"/>
              <a:gd name="connsiteX12" fmla="*/ 5545537 w 5545537"/>
              <a:gd name="connsiteY12" fmla="*/ 537 h 6922831"/>
              <a:gd name="connsiteX13" fmla="*/ 5545537 w 5545537"/>
              <a:gd name="connsiteY13" fmla="*/ 6876000 h 6922831"/>
              <a:gd name="connsiteX14" fmla="*/ 1067337 w 5545537"/>
              <a:gd name="connsiteY14" fmla="*/ 6922831 h 6922831"/>
              <a:gd name="connsiteX15" fmla="*/ 1069719 w 5545537"/>
              <a:gd name="connsiteY15" fmla="*/ 6318334 h 6922831"/>
              <a:gd name="connsiteX16" fmla="*/ 1069720 w 5545537"/>
              <a:gd name="connsiteY16" fmla="*/ 6318321 h 6922831"/>
              <a:gd name="connsiteX17" fmla="*/ 1069719 w 5545537"/>
              <a:gd name="connsiteY17" fmla="*/ 6318310 h 6922831"/>
              <a:gd name="connsiteX18" fmla="*/ 1061010 w 5545537"/>
              <a:gd name="connsiteY18" fmla="*/ 6219603 h 6922831"/>
              <a:gd name="connsiteX19" fmla="*/ 624433 w 5545537"/>
              <a:gd name="connsiteY19" fmla="*/ 5771972 h 6922831"/>
              <a:gd name="connsiteX20" fmla="*/ 426816 w 5545537"/>
              <a:gd name="connsiteY20" fmla="*/ 5735384 h 6922831"/>
              <a:gd name="connsiteX21" fmla="*/ 9971 w 5545537"/>
              <a:gd name="connsiteY21" fmla="*/ 5223932 h 6922831"/>
              <a:gd name="connsiteX22" fmla="*/ 426816 w 5545537"/>
              <a:gd name="connsiteY22" fmla="*/ 4712481 h 6922831"/>
              <a:gd name="connsiteX23" fmla="*/ 512040 w 5545537"/>
              <a:gd name="connsiteY23" fmla="*/ 4703889 h 6922831"/>
              <a:gd name="connsiteX24" fmla="*/ 512040 w 5545537"/>
              <a:gd name="connsiteY24" fmla="*/ 4703511 h 6922831"/>
              <a:gd name="connsiteX25" fmla="*/ 423086 w 5545537"/>
              <a:gd name="connsiteY25" fmla="*/ 4694544 h 6922831"/>
              <a:gd name="connsiteX26" fmla="*/ 0 w 5545537"/>
              <a:gd name="connsiteY26" fmla="*/ 4175435 h 6922831"/>
              <a:gd name="connsiteX27" fmla="*/ 529874 w 5545537"/>
              <a:gd name="connsiteY27" fmla="*/ 3645561 h 6922831"/>
              <a:gd name="connsiteX28" fmla="*/ 1048983 w 5545537"/>
              <a:gd name="connsiteY28" fmla="*/ 4068647 h 6922831"/>
              <a:gd name="connsiteX29" fmla="*/ 1057146 w 5545537"/>
              <a:gd name="connsiteY29" fmla="*/ 4149617 h 6922831"/>
              <a:gd name="connsiteX30" fmla="*/ 1069719 w 5545537"/>
              <a:gd name="connsiteY30" fmla="*/ 4620012 h 6922831"/>
              <a:gd name="connsiteX31" fmla="*/ 1095113 w 5545537"/>
              <a:gd name="connsiteY31" fmla="*/ 4538207 h 6922831"/>
              <a:gd name="connsiteX32" fmla="*/ 1576145 w 5545537"/>
              <a:gd name="connsiteY32" fmla="*/ 4219357 h 6922831"/>
              <a:gd name="connsiteX33" fmla="*/ 1609779 w 5545537"/>
              <a:gd name="connsiteY33" fmla="*/ 4222748 h 6922831"/>
              <a:gd name="connsiteX34" fmla="*/ 1609779 w 5545537"/>
              <a:gd name="connsiteY34" fmla="*/ 4205666 h 6922831"/>
              <a:gd name="connsiteX35" fmla="*/ 1577115 w 5545537"/>
              <a:gd name="connsiteY35" fmla="*/ 4208959 h 6922831"/>
              <a:gd name="connsiteX36" fmla="*/ 1055057 w 5545537"/>
              <a:gd name="connsiteY36" fmla="*/ 3686901 h 6922831"/>
              <a:gd name="connsiteX37" fmla="*/ 1577115 w 5545537"/>
              <a:gd name="connsiteY37" fmla="*/ 3164843 h 6922831"/>
              <a:gd name="connsiteX38" fmla="*/ 2088567 w 5545537"/>
              <a:gd name="connsiteY38" fmla="*/ 3581688 h 6922831"/>
              <a:gd name="connsiteX39" fmla="*/ 2098635 w 5545537"/>
              <a:gd name="connsiteY39" fmla="*/ 3681565 h 6922831"/>
              <a:gd name="connsiteX40" fmla="*/ 2113837 w 5545537"/>
              <a:gd name="connsiteY40" fmla="*/ 3681565 h 6922831"/>
              <a:gd name="connsiteX41" fmla="*/ 2113837 w 5545537"/>
              <a:gd name="connsiteY41" fmla="*/ 2637449 h 6922831"/>
              <a:gd name="connsiteX42" fmla="*/ 2114775 w 5545537"/>
              <a:gd name="connsiteY42" fmla="*/ 2637449 h 6922831"/>
              <a:gd name="connsiteX43" fmla="*/ 2113835 w 5545537"/>
              <a:gd name="connsiteY43" fmla="*/ 2628122 h 6922831"/>
              <a:gd name="connsiteX44" fmla="*/ 2635893 w 5545537"/>
              <a:gd name="connsiteY44" fmla="*/ 2106064 h 6922831"/>
              <a:gd name="connsiteX45" fmla="*/ 2649648 w 5545537"/>
              <a:gd name="connsiteY45" fmla="*/ 2107451 h 6922831"/>
              <a:gd name="connsiteX46" fmla="*/ 2649648 w 5545537"/>
              <a:gd name="connsiteY46" fmla="*/ 2090015 h 6922831"/>
              <a:gd name="connsiteX47" fmla="*/ 2635894 w 5545537"/>
              <a:gd name="connsiteY47" fmla="*/ 2091401 h 6922831"/>
              <a:gd name="connsiteX48" fmla="*/ 2113836 w 5545537"/>
              <a:gd name="connsiteY48" fmla="*/ 1569343 h 6922831"/>
              <a:gd name="connsiteX49" fmla="*/ 2635894 w 5545537"/>
              <a:gd name="connsiteY49" fmla="*/ 1047285 h 6922831"/>
              <a:gd name="connsiteX50" fmla="*/ 2649648 w 5545537"/>
              <a:gd name="connsiteY50" fmla="*/ 1048672 h 6922831"/>
              <a:gd name="connsiteX51" fmla="*/ 2649648 w 5545537"/>
              <a:gd name="connsiteY51" fmla="*/ 1043268 h 6922831"/>
              <a:gd name="connsiteX52" fmla="*/ 2689899 w 5545537"/>
              <a:gd name="connsiteY52" fmla="*/ 1039210 h 6922831"/>
              <a:gd name="connsiteX53" fmla="*/ 2689899 w 5545537"/>
              <a:gd name="connsiteY53" fmla="*/ 1038672 h 6922831"/>
              <a:gd name="connsiteX54" fmla="*/ 2635893 w 5545537"/>
              <a:gd name="connsiteY54" fmla="*/ 1044116 h 6922831"/>
              <a:gd name="connsiteX55" fmla="*/ 2113835 w 5545537"/>
              <a:gd name="connsiteY55" fmla="*/ 522058 h 6922831"/>
              <a:gd name="connsiteX56" fmla="*/ 2635893 w 5545537"/>
              <a:gd name="connsiteY56" fmla="*/ 0 h 6922831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1067337 w 5545537"/>
              <a:gd name="connsiteY14" fmla="*/ 6863300 h 6876000"/>
              <a:gd name="connsiteX15" fmla="*/ 1069719 w 5545537"/>
              <a:gd name="connsiteY15" fmla="*/ 6318334 h 6876000"/>
              <a:gd name="connsiteX16" fmla="*/ 1069720 w 5545537"/>
              <a:gd name="connsiteY16" fmla="*/ 6318321 h 6876000"/>
              <a:gd name="connsiteX17" fmla="*/ 1069719 w 5545537"/>
              <a:gd name="connsiteY17" fmla="*/ 6318310 h 6876000"/>
              <a:gd name="connsiteX18" fmla="*/ 1061010 w 5545537"/>
              <a:gd name="connsiteY18" fmla="*/ 6219603 h 6876000"/>
              <a:gd name="connsiteX19" fmla="*/ 624433 w 5545537"/>
              <a:gd name="connsiteY19" fmla="*/ 5771972 h 6876000"/>
              <a:gd name="connsiteX20" fmla="*/ 426816 w 5545537"/>
              <a:gd name="connsiteY20" fmla="*/ 5735384 h 6876000"/>
              <a:gd name="connsiteX21" fmla="*/ 9971 w 5545537"/>
              <a:gd name="connsiteY21" fmla="*/ 5223932 h 6876000"/>
              <a:gd name="connsiteX22" fmla="*/ 426816 w 5545537"/>
              <a:gd name="connsiteY22" fmla="*/ 4712481 h 6876000"/>
              <a:gd name="connsiteX23" fmla="*/ 512040 w 5545537"/>
              <a:gd name="connsiteY23" fmla="*/ 4703889 h 6876000"/>
              <a:gd name="connsiteX24" fmla="*/ 512040 w 5545537"/>
              <a:gd name="connsiteY24" fmla="*/ 4703511 h 6876000"/>
              <a:gd name="connsiteX25" fmla="*/ 423086 w 5545537"/>
              <a:gd name="connsiteY25" fmla="*/ 4694544 h 6876000"/>
              <a:gd name="connsiteX26" fmla="*/ 0 w 5545537"/>
              <a:gd name="connsiteY26" fmla="*/ 4175435 h 6876000"/>
              <a:gd name="connsiteX27" fmla="*/ 529874 w 5545537"/>
              <a:gd name="connsiteY27" fmla="*/ 3645561 h 6876000"/>
              <a:gd name="connsiteX28" fmla="*/ 1048983 w 5545537"/>
              <a:gd name="connsiteY28" fmla="*/ 4068647 h 6876000"/>
              <a:gd name="connsiteX29" fmla="*/ 1057146 w 5545537"/>
              <a:gd name="connsiteY29" fmla="*/ 4149617 h 6876000"/>
              <a:gd name="connsiteX30" fmla="*/ 1069719 w 5545537"/>
              <a:gd name="connsiteY30" fmla="*/ 4620012 h 6876000"/>
              <a:gd name="connsiteX31" fmla="*/ 1095113 w 5545537"/>
              <a:gd name="connsiteY31" fmla="*/ 4538207 h 6876000"/>
              <a:gd name="connsiteX32" fmla="*/ 1576145 w 5545537"/>
              <a:gd name="connsiteY32" fmla="*/ 4219357 h 6876000"/>
              <a:gd name="connsiteX33" fmla="*/ 1609779 w 5545537"/>
              <a:gd name="connsiteY33" fmla="*/ 4222748 h 6876000"/>
              <a:gd name="connsiteX34" fmla="*/ 1609779 w 5545537"/>
              <a:gd name="connsiteY34" fmla="*/ 4205666 h 6876000"/>
              <a:gd name="connsiteX35" fmla="*/ 1577115 w 5545537"/>
              <a:gd name="connsiteY35" fmla="*/ 4208959 h 6876000"/>
              <a:gd name="connsiteX36" fmla="*/ 1055057 w 5545537"/>
              <a:gd name="connsiteY36" fmla="*/ 3686901 h 6876000"/>
              <a:gd name="connsiteX37" fmla="*/ 1577115 w 5545537"/>
              <a:gd name="connsiteY37" fmla="*/ 3164843 h 6876000"/>
              <a:gd name="connsiteX38" fmla="*/ 2088567 w 5545537"/>
              <a:gd name="connsiteY38" fmla="*/ 3581688 h 6876000"/>
              <a:gd name="connsiteX39" fmla="*/ 2098635 w 5545537"/>
              <a:gd name="connsiteY39" fmla="*/ 3681565 h 6876000"/>
              <a:gd name="connsiteX40" fmla="*/ 2113837 w 5545537"/>
              <a:gd name="connsiteY40" fmla="*/ 3681565 h 6876000"/>
              <a:gd name="connsiteX41" fmla="*/ 2113837 w 5545537"/>
              <a:gd name="connsiteY41" fmla="*/ 2637449 h 6876000"/>
              <a:gd name="connsiteX42" fmla="*/ 2114775 w 5545537"/>
              <a:gd name="connsiteY42" fmla="*/ 2637449 h 6876000"/>
              <a:gd name="connsiteX43" fmla="*/ 2113835 w 5545537"/>
              <a:gd name="connsiteY43" fmla="*/ 2628122 h 6876000"/>
              <a:gd name="connsiteX44" fmla="*/ 2635893 w 5545537"/>
              <a:gd name="connsiteY44" fmla="*/ 2106064 h 6876000"/>
              <a:gd name="connsiteX45" fmla="*/ 2649648 w 5545537"/>
              <a:gd name="connsiteY45" fmla="*/ 2107451 h 6876000"/>
              <a:gd name="connsiteX46" fmla="*/ 2649648 w 5545537"/>
              <a:gd name="connsiteY46" fmla="*/ 2090015 h 6876000"/>
              <a:gd name="connsiteX47" fmla="*/ 2635894 w 5545537"/>
              <a:gd name="connsiteY47" fmla="*/ 2091401 h 6876000"/>
              <a:gd name="connsiteX48" fmla="*/ 2113836 w 5545537"/>
              <a:gd name="connsiteY48" fmla="*/ 1569343 h 6876000"/>
              <a:gd name="connsiteX49" fmla="*/ 2635894 w 5545537"/>
              <a:gd name="connsiteY49" fmla="*/ 1047285 h 6876000"/>
              <a:gd name="connsiteX50" fmla="*/ 2649648 w 5545537"/>
              <a:gd name="connsiteY50" fmla="*/ 1048672 h 6876000"/>
              <a:gd name="connsiteX51" fmla="*/ 2649648 w 5545537"/>
              <a:gd name="connsiteY51" fmla="*/ 1043268 h 6876000"/>
              <a:gd name="connsiteX52" fmla="*/ 2689899 w 5545537"/>
              <a:gd name="connsiteY52" fmla="*/ 1039210 h 6876000"/>
              <a:gd name="connsiteX53" fmla="*/ 2689899 w 5545537"/>
              <a:gd name="connsiteY53" fmla="*/ 1038672 h 6876000"/>
              <a:gd name="connsiteX54" fmla="*/ 2635893 w 5545537"/>
              <a:gd name="connsiteY54" fmla="*/ 1044116 h 6876000"/>
              <a:gd name="connsiteX55" fmla="*/ 2113835 w 5545537"/>
              <a:gd name="connsiteY55" fmla="*/ 522058 h 6876000"/>
              <a:gd name="connsiteX56" fmla="*/ 2635893 w 5545537"/>
              <a:gd name="connsiteY56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1067337 w 5545537"/>
              <a:gd name="connsiteY14" fmla="*/ 6863300 h 6876000"/>
              <a:gd name="connsiteX15" fmla="*/ 1069719 w 5545537"/>
              <a:gd name="connsiteY15" fmla="*/ 6318334 h 6876000"/>
              <a:gd name="connsiteX16" fmla="*/ 1069720 w 5545537"/>
              <a:gd name="connsiteY16" fmla="*/ 6318321 h 6876000"/>
              <a:gd name="connsiteX17" fmla="*/ 1069719 w 5545537"/>
              <a:gd name="connsiteY17" fmla="*/ 6318310 h 6876000"/>
              <a:gd name="connsiteX18" fmla="*/ 1061010 w 5545537"/>
              <a:gd name="connsiteY18" fmla="*/ 6219603 h 6876000"/>
              <a:gd name="connsiteX19" fmla="*/ 624433 w 5545537"/>
              <a:gd name="connsiteY19" fmla="*/ 5771972 h 6876000"/>
              <a:gd name="connsiteX20" fmla="*/ 426816 w 5545537"/>
              <a:gd name="connsiteY20" fmla="*/ 5735384 h 6876000"/>
              <a:gd name="connsiteX21" fmla="*/ 9971 w 5545537"/>
              <a:gd name="connsiteY21" fmla="*/ 5223932 h 6876000"/>
              <a:gd name="connsiteX22" fmla="*/ 426816 w 5545537"/>
              <a:gd name="connsiteY22" fmla="*/ 4712481 h 6876000"/>
              <a:gd name="connsiteX23" fmla="*/ 512040 w 5545537"/>
              <a:gd name="connsiteY23" fmla="*/ 4703889 h 6876000"/>
              <a:gd name="connsiteX24" fmla="*/ 512040 w 5545537"/>
              <a:gd name="connsiteY24" fmla="*/ 4703511 h 6876000"/>
              <a:gd name="connsiteX25" fmla="*/ 423086 w 5545537"/>
              <a:gd name="connsiteY25" fmla="*/ 4694544 h 6876000"/>
              <a:gd name="connsiteX26" fmla="*/ 0 w 5545537"/>
              <a:gd name="connsiteY26" fmla="*/ 4175435 h 6876000"/>
              <a:gd name="connsiteX27" fmla="*/ 529874 w 5545537"/>
              <a:gd name="connsiteY27" fmla="*/ 3645561 h 6876000"/>
              <a:gd name="connsiteX28" fmla="*/ 1048983 w 5545537"/>
              <a:gd name="connsiteY28" fmla="*/ 4068647 h 6876000"/>
              <a:gd name="connsiteX29" fmla="*/ 1057146 w 5545537"/>
              <a:gd name="connsiteY29" fmla="*/ 4149617 h 6876000"/>
              <a:gd name="connsiteX30" fmla="*/ 1069719 w 5545537"/>
              <a:gd name="connsiteY30" fmla="*/ 4620012 h 6876000"/>
              <a:gd name="connsiteX31" fmla="*/ 1095113 w 5545537"/>
              <a:gd name="connsiteY31" fmla="*/ 4538207 h 6876000"/>
              <a:gd name="connsiteX32" fmla="*/ 1576145 w 5545537"/>
              <a:gd name="connsiteY32" fmla="*/ 4219357 h 6876000"/>
              <a:gd name="connsiteX33" fmla="*/ 1609779 w 5545537"/>
              <a:gd name="connsiteY33" fmla="*/ 4222748 h 6876000"/>
              <a:gd name="connsiteX34" fmla="*/ 1609779 w 5545537"/>
              <a:gd name="connsiteY34" fmla="*/ 4205666 h 6876000"/>
              <a:gd name="connsiteX35" fmla="*/ 1577115 w 5545537"/>
              <a:gd name="connsiteY35" fmla="*/ 4208959 h 6876000"/>
              <a:gd name="connsiteX36" fmla="*/ 1055057 w 5545537"/>
              <a:gd name="connsiteY36" fmla="*/ 3686901 h 6876000"/>
              <a:gd name="connsiteX37" fmla="*/ 1577115 w 5545537"/>
              <a:gd name="connsiteY37" fmla="*/ 3164843 h 6876000"/>
              <a:gd name="connsiteX38" fmla="*/ 2088567 w 5545537"/>
              <a:gd name="connsiteY38" fmla="*/ 3581688 h 6876000"/>
              <a:gd name="connsiteX39" fmla="*/ 2098635 w 5545537"/>
              <a:gd name="connsiteY39" fmla="*/ 3681565 h 6876000"/>
              <a:gd name="connsiteX40" fmla="*/ 2113837 w 5545537"/>
              <a:gd name="connsiteY40" fmla="*/ 3681565 h 6876000"/>
              <a:gd name="connsiteX41" fmla="*/ 2113837 w 5545537"/>
              <a:gd name="connsiteY41" fmla="*/ 2637449 h 6876000"/>
              <a:gd name="connsiteX42" fmla="*/ 2114775 w 5545537"/>
              <a:gd name="connsiteY42" fmla="*/ 2637449 h 6876000"/>
              <a:gd name="connsiteX43" fmla="*/ 2113835 w 5545537"/>
              <a:gd name="connsiteY43" fmla="*/ 2628122 h 6876000"/>
              <a:gd name="connsiteX44" fmla="*/ 2635893 w 5545537"/>
              <a:gd name="connsiteY44" fmla="*/ 2106064 h 6876000"/>
              <a:gd name="connsiteX45" fmla="*/ 2649648 w 5545537"/>
              <a:gd name="connsiteY45" fmla="*/ 2107451 h 6876000"/>
              <a:gd name="connsiteX46" fmla="*/ 2649648 w 5545537"/>
              <a:gd name="connsiteY46" fmla="*/ 2090015 h 6876000"/>
              <a:gd name="connsiteX47" fmla="*/ 2635894 w 5545537"/>
              <a:gd name="connsiteY47" fmla="*/ 2091401 h 6876000"/>
              <a:gd name="connsiteX48" fmla="*/ 2113836 w 5545537"/>
              <a:gd name="connsiteY48" fmla="*/ 1569343 h 6876000"/>
              <a:gd name="connsiteX49" fmla="*/ 2635894 w 5545537"/>
              <a:gd name="connsiteY49" fmla="*/ 1047285 h 6876000"/>
              <a:gd name="connsiteX50" fmla="*/ 2649648 w 5545537"/>
              <a:gd name="connsiteY50" fmla="*/ 1048672 h 6876000"/>
              <a:gd name="connsiteX51" fmla="*/ 2649648 w 5545537"/>
              <a:gd name="connsiteY51" fmla="*/ 1043268 h 6876000"/>
              <a:gd name="connsiteX52" fmla="*/ 2689899 w 5545537"/>
              <a:gd name="connsiteY52" fmla="*/ 1039210 h 6876000"/>
              <a:gd name="connsiteX53" fmla="*/ 2689899 w 5545537"/>
              <a:gd name="connsiteY53" fmla="*/ 1038672 h 6876000"/>
              <a:gd name="connsiteX54" fmla="*/ 2635893 w 5545537"/>
              <a:gd name="connsiteY54" fmla="*/ 1044116 h 6876000"/>
              <a:gd name="connsiteX55" fmla="*/ 2113835 w 5545537"/>
              <a:gd name="connsiteY55" fmla="*/ 522058 h 6876000"/>
              <a:gd name="connsiteX56" fmla="*/ 2635893 w 5545537"/>
              <a:gd name="connsiteY56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1067337 w 5545537"/>
              <a:gd name="connsiteY14" fmla="*/ 6863300 h 6876000"/>
              <a:gd name="connsiteX15" fmla="*/ 1069719 w 5545537"/>
              <a:gd name="connsiteY15" fmla="*/ 6318334 h 6876000"/>
              <a:gd name="connsiteX16" fmla="*/ 1069720 w 5545537"/>
              <a:gd name="connsiteY16" fmla="*/ 6318321 h 6876000"/>
              <a:gd name="connsiteX17" fmla="*/ 1069719 w 5545537"/>
              <a:gd name="connsiteY17" fmla="*/ 6318310 h 6876000"/>
              <a:gd name="connsiteX18" fmla="*/ 1061010 w 5545537"/>
              <a:gd name="connsiteY18" fmla="*/ 6219603 h 6876000"/>
              <a:gd name="connsiteX19" fmla="*/ 624433 w 5545537"/>
              <a:gd name="connsiteY19" fmla="*/ 5771972 h 6876000"/>
              <a:gd name="connsiteX20" fmla="*/ 426816 w 5545537"/>
              <a:gd name="connsiteY20" fmla="*/ 5735384 h 6876000"/>
              <a:gd name="connsiteX21" fmla="*/ 9971 w 5545537"/>
              <a:gd name="connsiteY21" fmla="*/ 5223932 h 6876000"/>
              <a:gd name="connsiteX22" fmla="*/ 426816 w 5545537"/>
              <a:gd name="connsiteY22" fmla="*/ 4712481 h 6876000"/>
              <a:gd name="connsiteX23" fmla="*/ 512040 w 5545537"/>
              <a:gd name="connsiteY23" fmla="*/ 4703889 h 6876000"/>
              <a:gd name="connsiteX24" fmla="*/ 512040 w 5545537"/>
              <a:gd name="connsiteY24" fmla="*/ 4703511 h 6876000"/>
              <a:gd name="connsiteX25" fmla="*/ 423086 w 5545537"/>
              <a:gd name="connsiteY25" fmla="*/ 4694544 h 6876000"/>
              <a:gd name="connsiteX26" fmla="*/ 0 w 5545537"/>
              <a:gd name="connsiteY26" fmla="*/ 4175435 h 6876000"/>
              <a:gd name="connsiteX27" fmla="*/ 529874 w 5545537"/>
              <a:gd name="connsiteY27" fmla="*/ 3645561 h 6876000"/>
              <a:gd name="connsiteX28" fmla="*/ 1048983 w 5545537"/>
              <a:gd name="connsiteY28" fmla="*/ 4068647 h 6876000"/>
              <a:gd name="connsiteX29" fmla="*/ 1057146 w 5545537"/>
              <a:gd name="connsiteY29" fmla="*/ 4149617 h 6876000"/>
              <a:gd name="connsiteX30" fmla="*/ 1069719 w 5545537"/>
              <a:gd name="connsiteY30" fmla="*/ 4620012 h 6876000"/>
              <a:gd name="connsiteX31" fmla="*/ 1095113 w 5545537"/>
              <a:gd name="connsiteY31" fmla="*/ 4538207 h 6876000"/>
              <a:gd name="connsiteX32" fmla="*/ 1576145 w 5545537"/>
              <a:gd name="connsiteY32" fmla="*/ 4219357 h 6876000"/>
              <a:gd name="connsiteX33" fmla="*/ 1609779 w 5545537"/>
              <a:gd name="connsiteY33" fmla="*/ 4222748 h 6876000"/>
              <a:gd name="connsiteX34" fmla="*/ 1609779 w 5545537"/>
              <a:gd name="connsiteY34" fmla="*/ 4205666 h 6876000"/>
              <a:gd name="connsiteX35" fmla="*/ 1577115 w 5545537"/>
              <a:gd name="connsiteY35" fmla="*/ 4208959 h 6876000"/>
              <a:gd name="connsiteX36" fmla="*/ 1055057 w 5545537"/>
              <a:gd name="connsiteY36" fmla="*/ 3686901 h 6876000"/>
              <a:gd name="connsiteX37" fmla="*/ 1577115 w 5545537"/>
              <a:gd name="connsiteY37" fmla="*/ 3164843 h 6876000"/>
              <a:gd name="connsiteX38" fmla="*/ 2088567 w 5545537"/>
              <a:gd name="connsiteY38" fmla="*/ 3581688 h 6876000"/>
              <a:gd name="connsiteX39" fmla="*/ 2098635 w 5545537"/>
              <a:gd name="connsiteY39" fmla="*/ 3681565 h 6876000"/>
              <a:gd name="connsiteX40" fmla="*/ 2113837 w 5545537"/>
              <a:gd name="connsiteY40" fmla="*/ 3681565 h 6876000"/>
              <a:gd name="connsiteX41" fmla="*/ 2113837 w 5545537"/>
              <a:gd name="connsiteY41" fmla="*/ 2637449 h 6876000"/>
              <a:gd name="connsiteX42" fmla="*/ 2114775 w 5545537"/>
              <a:gd name="connsiteY42" fmla="*/ 2637449 h 6876000"/>
              <a:gd name="connsiteX43" fmla="*/ 2113835 w 5545537"/>
              <a:gd name="connsiteY43" fmla="*/ 2628122 h 6876000"/>
              <a:gd name="connsiteX44" fmla="*/ 2635893 w 5545537"/>
              <a:gd name="connsiteY44" fmla="*/ 2106064 h 6876000"/>
              <a:gd name="connsiteX45" fmla="*/ 2649648 w 5545537"/>
              <a:gd name="connsiteY45" fmla="*/ 2107451 h 6876000"/>
              <a:gd name="connsiteX46" fmla="*/ 2649648 w 5545537"/>
              <a:gd name="connsiteY46" fmla="*/ 2090015 h 6876000"/>
              <a:gd name="connsiteX47" fmla="*/ 2635894 w 5545537"/>
              <a:gd name="connsiteY47" fmla="*/ 2091401 h 6876000"/>
              <a:gd name="connsiteX48" fmla="*/ 2113836 w 5545537"/>
              <a:gd name="connsiteY48" fmla="*/ 1569343 h 6876000"/>
              <a:gd name="connsiteX49" fmla="*/ 2635894 w 5545537"/>
              <a:gd name="connsiteY49" fmla="*/ 1047285 h 6876000"/>
              <a:gd name="connsiteX50" fmla="*/ 2649648 w 5545537"/>
              <a:gd name="connsiteY50" fmla="*/ 1048672 h 6876000"/>
              <a:gd name="connsiteX51" fmla="*/ 2649648 w 5545537"/>
              <a:gd name="connsiteY51" fmla="*/ 1043268 h 6876000"/>
              <a:gd name="connsiteX52" fmla="*/ 2689899 w 5545537"/>
              <a:gd name="connsiteY52" fmla="*/ 1039210 h 6876000"/>
              <a:gd name="connsiteX53" fmla="*/ 2689899 w 5545537"/>
              <a:gd name="connsiteY53" fmla="*/ 1038672 h 6876000"/>
              <a:gd name="connsiteX54" fmla="*/ 2635893 w 5545537"/>
              <a:gd name="connsiteY54" fmla="*/ 1044116 h 6876000"/>
              <a:gd name="connsiteX55" fmla="*/ 2113835 w 5545537"/>
              <a:gd name="connsiteY55" fmla="*/ 522058 h 6876000"/>
              <a:gd name="connsiteX56" fmla="*/ 2635893 w 5545537"/>
              <a:gd name="connsiteY56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1067337 w 5545537"/>
              <a:gd name="connsiteY14" fmla="*/ 6863300 h 6876000"/>
              <a:gd name="connsiteX15" fmla="*/ 1069719 w 5545537"/>
              <a:gd name="connsiteY15" fmla="*/ 6318334 h 6876000"/>
              <a:gd name="connsiteX16" fmla="*/ 1069720 w 5545537"/>
              <a:gd name="connsiteY16" fmla="*/ 6318321 h 6876000"/>
              <a:gd name="connsiteX17" fmla="*/ 1069719 w 5545537"/>
              <a:gd name="connsiteY17" fmla="*/ 6318310 h 6876000"/>
              <a:gd name="connsiteX18" fmla="*/ 1061010 w 5545537"/>
              <a:gd name="connsiteY18" fmla="*/ 6219603 h 6876000"/>
              <a:gd name="connsiteX19" fmla="*/ 624433 w 5545537"/>
              <a:gd name="connsiteY19" fmla="*/ 5771972 h 6876000"/>
              <a:gd name="connsiteX20" fmla="*/ 426816 w 5545537"/>
              <a:gd name="connsiteY20" fmla="*/ 5735384 h 6876000"/>
              <a:gd name="connsiteX21" fmla="*/ 9971 w 5545537"/>
              <a:gd name="connsiteY21" fmla="*/ 5223932 h 6876000"/>
              <a:gd name="connsiteX22" fmla="*/ 426816 w 5545537"/>
              <a:gd name="connsiteY22" fmla="*/ 4712481 h 6876000"/>
              <a:gd name="connsiteX23" fmla="*/ 512040 w 5545537"/>
              <a:gd name="connsiteY23" fmla="*/ 4703889 h 6876000"/>
              <a:gd name="connsiteX24" fmla="*/ 512040 w 5545537"/>
              <a:gd name="connsiteY24" fmla="*/ 4703511 h 6876000"/>
              <a:gd name="connsiteX25" fmla="*/ 423086 w 5545537"/>
              <a:gd name="connsiteY25" fmla="*/ 4694544 h 6876000"/>
              <a:gd name="connsiteX26" fmla="*/ 0 w 5545537"/>
              <a:gd name="connsiteY26" fmla="*/ 4175435 h 6876000"/>
              <a:gd name="connsiteX27" fmla="*/ 529874 w 5545537"/>
              <a:gd name="connsiteY27" fmla="*/ 3645561 h 6876000"/>
              <a:gd name="connsiteX28" fmla="*/ 1048983 w 5545537"/>
              <a:gd name="connsiteY28" fmla="*/ 4068647 h 6876000"/>
              <a:gd name="connsiteX29" fmla="*/ 1057146 w 5545537"/>
              <a:gd name="connsiteY29" fmla="*/ 4149617 h 6876000"/>
              <a:gd name="connsiteX30" fmla="*/ 1069719 w 5545537"/>
              <a:gd name="connsiteY30" fmla="*/ 4620012 h 6876000"/>
              <a:gd name="connsiteX31" fmla="*/ 1095113 w 5545537"/>
              <a:gd name="connsiteY31" fmla="*/ 4538207 h 6876000"/>
              <a:gd name="connsiteX32" fmla="*/ 1576145 w 5545537"/>
              <a:gd name="connsiteY32" fmla="*/ 4219357 h 6876000"/>
              <a:gd name="connsiteX33" fmla="*/ 1609779 w 5545537"/>
              <a:gd name="connsiteY33" fmla="*/ 4222748 h 6876000"/>
              <a:gd name="connsiteX34" fmla="*/ 1609779 w 5545537"/>
              <a:gd name="connsiteY34" fmla="*/ 4205666 h 6876000"/>
              <a:gd name="connsiteX35" fmla="*/ 1577115 w 5545537"/>
              <a:gd name="connsiteY35" fmla="*/ 4208959 h 6876000"/>
              <a:gd name="connsiteX36" fmla="*/ 1055057 w 5545537"/>
              <a:gd name="connsiteY36" fmla="*/ 3686901 h 6876000"/>
              <a:gd name="connsiteX37" fmla="*/ 1577115 w 5545537"/>
              <a:gd name="connsiteY37" fmla="*/ 3164843 h 6876000"/>
              <a:gd name="connsiteX38" fmla="*/ 2088567 w 5545537"/>
              <a:gd name="connsiteY38" fmla="*/ 3581688 h 6876000"/>
              <a:gd name="connsiteX39" fmla="*/ 2098635 w 5545537"/>
              <a:gd name="connsiteY39" fmla="*/ 3681565 h 6876000"/>
              <a:gd name="connsiteX40" fmla="*/ 2113837 w 5545537"/>
              <a:gd name="connsiteY40" fmla="*/ 3681565 h 6876000"/>
              <a:gd name="connsiteX41" fmla="*/ 2113837 w 5545537"/>
              <a:gd name="connsiteY41" fmla="*/ 2637449 h 6876000"/>
              <a:gd name="connsiteX42" fmla="*/ 2114775 w 5545537"/>
              <a:gd name="connsiteY42" fmla="*/ 2637449 h 6876000"/>
              <a:gd name="connsiteX43" fmla="*/ 2113835 w 5545537"/>
              <a:gd name="connsiteY43" fmla="*/ 2628122 h 6876000"/>
              <a:gd name="connsiteX44" fmla="*/ 2635893 w 5545537"/>
              <a:gd name="connsiteY44" fmla="*/ 2106064 h 6876000"/>
              <a:gd name="connsiteX45" fmla="*/ 2649648 w 5545537"/>
              <a:gd name="connsiteY45" fmla="*/ 2107451 h 6876000"/>
              <a:gd name="connsiteX46" fmla="*/ 2649648 w 5545537"/>
              <a:gd name="connsiteY46" fmla="*/ 2090015 h 6876000"/>
              <a:gd name="connsiteX47" fmla="*/ 2635894 w 5545537"/>
              <a:gd name="connsiteY47" fmla="*/ 2091401 h 6876000"/>
              <a:gd name="connsiteX48" fmla="*/ 2113836 w 5545537"/>
              <a:gd name="connsiteY48" fmla="*/ 1569343 h 6876000"/>
              <a:gd name="connsiteX49" fmla="*/ 2635894 w 5545537"/>
              <a:gd name="connsiteY49" fmla="*/ 1047285 h 6876000"/>
              <a:gd name="connsiteX50" fmla="*/ 2649648 w 5545537"/>
              <a:gd name="connsiteY50" fmla="*/ 1048672 h 6876000"/>
              <a:gd name="connsiteX51" fmla="*/ 2649648 w 5545537"/>
              <a:gd name="connsiteY51" fmla="*/ 1043268 h 6876000"/>
              <a:gd name="connsiteX52" fmla="*/ 2689899 w 5545537"/>
              <a:gd name="connsiteY52" fmla="*/ 1039210 h 6876000"/>
              <a:gd name="connsiteX53" fmla="*/ 2689899 w 5545537"/>
              <a:gd name="connsiteY53" fmla="*/ 1038672 h 6876000"/>
              <a:gd name="connsiteX54" fmla="*/ 2635893 w 5545537"/>
              <a:gd name="connsiteY54" fmla="*/ 1044116 h 6876000"/>
              <a:gd name="connsiteX55" fmla="*/ 2113835 w 5545537"/>
              <a:gd name="connsiteY55" fmla="*/ 522058 h 6876000"/>
              <a:gd name="connsiteX56" fmla="*/ 2635893 w 5545537"/>
              <a:gd name="connsiteY56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1067337 w 5545537"/>
              <a:gd name="connsiteY14" fmla="*/ 6863300 h 6876000"/>
              <a:gd name="connsiteX15" fmla="*/ 1069719 w 5545537"/>
              <a:gd name="connsiteY15" fmla="*/ 6318334 h 6876000"/>
              <a:gd name="connsiteX16" fmla="*/ 1069720 w 5545537"/>
              <a:gd name="connsiteY16" fmla="*/ 6318321 h 6876000"/>
              <a:gd name="connsiteX17" fmla="*/ 1069719 w 5545537"/>
              <a:gd name="connsiteY17" fmla="*/ 6318310 h 6876000"/>
              <a:gd name="connsiteX18" fmla="*/ 1061010 w 5545537"/>
              <a:gd name="connsiteY18" fmla="*/ 6219603 h 6876000"/>
              <a:gd name="connsiteX19" fmla="*/ 624433 w 5545537"/>
              <a:gd name="connsiteY19" fmla="*/ 5771972 h 6876000"/>
              <a:gd name="connsiteX20" fmla="*/ 426816 w 5545537"/>
              <a:gd name="connsiteY20" fmla="*/ 5735384 h 6876000"/>
              <a:gd name="connsiteX21" fmla="*/ 9971 w 5545537"/>
              <a:gd name="connsiteY21" fmla="*/ 5223932 h 6876000"/>
              <a:gd name="connsiteX22" fmla="*/ 426816 w 5545537"/>
              <a:gd name="connsiteY22" fmla="*/ 4712481 h 6876000"/>
              <a:gd name="connsiteX23" fmla="*/ 512040 w 5545537"/>
              <a:gd name="connsiteY23" fmla="*/ 4703889 h 6876000"/>
              <a:gd name="connsiteX24" fmla="*/ 512040 w 5545537"/>
              <a:gd name="connsiteY24" fmla="*/ 4703511 h 6876000"/>
              <a:gd name="connsiteX25" fmla="*/ 423086 w 5545537"/>
              <a:gd name="connsiteY25" fmla="*/ 4694544 h 6876000"/>
              <a:gd name="connsiteX26" fmla="*/ 0 w 5545537"/>
              <a:gd name="connsiteY26" fmla="*/ 4175435 h 6876000"/>
              <a:gd name="connsiteX27" fmla="*/ 529874 w 5545537"/>
              <a:gd name="connsiteY27" fmla="*/ 3645561 h 6876000"/>
              <a:gd name="connsiteX28" fmla="*/ 1048983 w 5545537"/>
              <a:gd name="connsiteY28" fmla="*/ 4068647 h 6876000"/>
              <a:gd name="connsiteX29" fmla="*/ 1057146 w 5545537"/>
              <a:gd name="connsiteY29" fmla="*/ 4149617 h 6876000"/>
              <a:gd name="connsiteX30" fmla="*/ 1069719 w 5545537"/>
              <a:gd name="connsiteY30" fmla="*/ 4620012 h 6876000"/>
              <a:gd name="connsiteX31" fmla="*/ 1095113 w 5545537"/>
              <a:gd name="connsiteY31" fmla="*/ 4538207 h 6876000"/>
              <a:gd name="connsiteX32" fmla="*/ 1576145 w 5545537"/>
              <a:gd name="connsiteY32" fmla="*/ 4219357 h 6876000"/>
              <a:gd name="connsiteX33" fmla="*/ 1609779 w 5545537"/>
              <a:gd name="connsiteY33" fmla="*/ 4222748 h 6876000"/>
              <a:gd name="connsiteX34" fmla="*/ 1609779 w 5545537"/>
              <a:gd name="connsiteY34" fmla="*/ 4205666 h 6876000"/>
              <a:gd name="connsiteX35" fmla="*/ 1577115 w 5545537"/>
              <a:gd name="connsiteY35" fmla="*/ 4208959 h 6876000"/>
              <a:gd name="connsiteX36" fmla="*/ 1055057 w 5545537"/>
              <a:gd name="connsiteY36" fmla="*/ 3686901 h 6876000"/>
              <a:gd name="connsiteX37" fmla="*/ 1577115 w 5545537"/>
              <a:gd name="connsiteY37" fmla="*/ 3164843 h 6876000"/>
              <a:gd name="connsiteX38" fmla="*/ 2088567 w 5545537"/>
              <a:gd name="connsiteY38" fmla="*/ 3581688 h 6876000"/>
              <a:gd name="connsiteX39" fmla="*/ 2098635 w 5545537"/>
              <a:gd name="connsiteY39" fmla="*/ 3681565 h 6876000"/>
              <a:gd name="connsiteX40" fmla="*/ 2113837 w 5545537"/>
              <a:gd name="connsiteY40" fmla="*/ 3681565 h 6876000"/>
              <a:gd name="connsiteX41" fmla="*/ 2113837 w 5545537"/>
              <a:gd name="connsiteY41" fmla="*/ 2637449 h 6876000"/>
              <a:gd name="connsiteX42" fmla="*/ 2114775 w 5545537"/>
              <a:gd name="connsiteY42" fmla="*/ 2637449 h 6876000"/>
              <a:gd name="connsiteX43" fmla="*/ 2113835 w 5545537"/>
              <a:gd name="connsiteY43" fmla="*/ 2628122 h 6876000"/>
              <a:gd name="connsiteX44" fmla="*/ 2635893 w 5545537"/>
              <a:gd name="connsiteY44" fmla="*/ 2106064 h 6876000"/>
              <a:gd name="connsiteX45" fmla="*/ 2649648 w 5545537"/>
              <a:gd name="connsiteY45" fmla="*/ 2107451 h 6876000"/>
              <a:gd name="connsiteX46" fmla="*/ 2649648 w 5545537"/>
              <a:gd name="connsiteY46" fmla="*/ 2090015 h 6876000"/>
              <a:gd name="connsiteX47" fmla="*/ 2635894 w 5545537"/>
              <a:gd name="connsiteY47" fmla="*/ 2091401 h 6876000"/>
              <a:gd name="connsiteX48" fmla="*/ 2113836 w 5545537"/>
              <a:gd name="connsiteY48" fmla="*/ 1569343 h 6876000"/>
              <a:gd name="connsiteX49" fmla="*/ 2635894 w 5545537"/>
              <a:gd name="connsiteY49" fmla="*/ 1047285 h 6876000"/>
              <a:gd name="connsiteX50" fmla="*/ 2649648 w 5545537"/>
              <a:gd name="connsiteY50" fmla="*/ 1048672 h 6876000"/>
              <a:gd name="connsiteX51" fmla="*/ 2649648 w 5545537"/>
              <a:gd name="connsiteY51" fmla="*/ 1043268 h 6876000"/>
              <a:gd name="connsiteX52" fmla="*/ 2689899 w 5545537"/>
              <a:gd name="connsiteY52" fmla="*/ 1039210 h 6876000"/>
              <a:gd name="connsiteX53" fmla="*/ 2689899 w 5545537"/>
              <a:gd name="connsiteY53" fmla="*/ 1038672 h 6876000"/>
              <a:gd name="connsiteX54" fmla="*/ 2635893 w 5545537"/>
              <a:gd name="connsiteY54" fmla="*/ 1044116 h 6876000"/>
              <a:gd name="connsiteX55" fmla="*/ 2113835 w 5545537"/>
              <a:gd name="connsiteY55" fmla="*/ 522058 h 6876000"/>
              <a:gd name="connsiteX56" fmla="*/ 2635893 w 5545537"/>
              <a:gd name="connsiteY56" fmla="*/ 0 h 6876000"/>
              <a:gd name="connsiteX0" fmla="*/ 1577115 w 5545537"/>
              <a:gd name="connsiteY0" fmla="*/ 2106064 h 6876022"/>
              <a:gd name="connsiteX1" fmla="*/ 2099173 w 5545537"/>
              <a:gd name="connsiteY1" fmla="*/ 2628122 h 6876022"/>
              <a:gd name="connsiteX2" fmla="*/ 1577115 w 5545537"/>
              <a:gd name="connsiteY2" fmla="*/ 3150180 h 6876022"/>
              <a:gd name="connsiteX3" fmla="*/ 1055057 w 5545537"/>
              <a:gd name="connsiteY3" fmla="*/ 2628122 h 6876022"/>
              <a:gd name="connsiteX4" fmla="*/ 1577115 w 5545537"/>
              <a:gd name="connsiteY4" fmla="*/ 2106064 h 6876022"/>
              <a:gd name="connsiteX5" fmla="*/ 2635893 w 5545537"/>
              <a:gd name="connsiteY5" fmla="*/ 0 h 6876022"/>
              <a:gd name="connsiteX6" fmla="*/ 2649648 w 5545537"/>
              <a:gd name="connsiteY6" fmla="*/ 1387 h 6876022"/>
              <a:gd name="connsiteX7" fmla="*/ 2649648 w 5545537"/>
              <a:gd name="connsiteY7" fmla="*/ 537 h 6876022"/>
              <a:gd name="connsiteX8" fmla="*/ 2689899 w 5545537"/>
              <a:gd name="connsiteY8" fmla="*/ 537 h 6876022"/>
              <a:gd name="connsiteX9" fmla="*/ 2689899 w 5545537"/>
              <a:gd name="connsiteY9" fmla="*/ 0 h 6876022"/>
              <a:gd name="connsiteX10" fmla="*/ 3846766 w 5545537"/>
              <a:gd name="connsiteY10" fmla="*/ 0 h 6876022"/>
              <a:gd name="connsiteX11" fmla="*/ 3846766 w 5545537"/>
              <a:gd name="connsiteY11" fmla="*/ 537 h 6876022"/>
              <a:gd name="connsiteX12" fmla="*/ 5545537 w 5545537"/>
              <a:gd name="connsiteY12" fmla="*/ 537 h 6876022"/>
              <a:gd name="connsiteX13" fmla="*/ 5545537 w 5545537"/>
              <a:gd name="connsiteY13" fmla="*/ 6876000 h 6876022"/>
              <a:gd name="connsiteX14" fmla="*/ 1067337 w 5545537"/>
              <a:gd name="connsiteY14" fmla="*/ 6863300 h 6876022"/>
              <a:gd name="connsiteX15" fmla="*/ 1069719 w 5545537"/>
              <a:gd name="connsiteY15" fmla="*/ 6318334 h 6876022"/>
              <a:gd name="connsiteX16" fmla="*/ 1069720 w 5545537"/>
              <a:gd name="connsiteY16" fmla="*/ 6318321 h 6876022"/>
              <a:gd name="connsiteX17" fmla="*/ 1069719 w 5545537"/>
              <a:gd name="connsiteY17" fmla="*/ 6318310 h 6876022"/>
              <a:gd name="connsiteX18" fmla="*/ 1061010 w 5545537"/>
              <a:gd name="connsiteY18" fmla="*/ 6219603 h 6876022"/>
              <a:gd name="connsiteX19" fmla="*/ 624433 w 5545537"/>
              <a:gd name="connsiteY19" fmla="*/ 5771972 h 6876022"/>
              <a:gd name="connsiteX20" fmla="*/ 426816 w 5545537"/>
              <a:gd name="connsiteY20" fmla="*/ 5735384 h 6876022"/>
              <a:gd name="connsiteX21" fmla="*/ 9971 w 5545537"/>
              <a:gd name="connsiteY21" fmla="*/ 5223932 h 6876022"/>
              <a:gd name="connsiteX22" fmla="*/ 426816 w 5545537"/>
              <a:gd name="connsiteY22" fmla="*/ 4712481 h 6876022"/>
              <a:gd name="connsiteX23" fmla="*/ 512040 w 5545537"/>
              <a:gd name="connsiteY23" fmla="*/ 4703889 h 6876022"/>
              <a:gd name="connsiteX24" fmla="*/ 512040 w 5545537"/>
              <a:gd name="connsiteY24" fmla="*/ 4703511 h 6876022"/>
              <a:gd name="connsiteX25" fmla="*/ 423086 w 5545537"/>
              <a:gd name="connsiteY25" fmla="*/ 4694544 h 6876022"/>
              <a:gd name="connsiteX26" fmla="*/ 0 w 5545537"/>
              <a:gd name="connsiteY26" fmla="*/ 4175435 h 6876022"/>
              <a:gd name="connsiteX27" fmla="*/ 529874 w 5545537"/>
              <a:gd name="connsiteY27" fmla="*/ 3645561 h 6876022"/>
              <a:gd name="connsiteX28" fmla="*/ 1048983 w 5545537"/>
              <a:gd name="connsiteY28" fmla="*/ 4068647 h 6876022"/>
              <a:gd name="connsiteX29" fmla="*/ 1057146 w 5545537"/>
              <a:gd name="connsiteY29" fmla="*/ 4149617 h 6876022"/>
              <a:gd name="connsiteX30" fmla="*/ 1069719 w 5545537"/>
              <a:gd name="connsiteY30" fmla="*/ 4620012 h 6876022"/>
              <a:gd name="connsiteX31" fmla="*/ 1095113 w 5545537"/>
              <a:gd name="connsiteY31" fmla="*/ 4538207 h 6876022"/>
              <a:gd name="connsiteX32" fmla="*/ 1576145 w 5545537"/>
              <a:gd name="connsiteY32" fmla="*/ 4219357 h 6876022"/>
              <a:gd name="connsiteX33" fmla="*/ 1609779 w 5545537"/>
              <a:gd name="connsiteY33" fmla="*/ 4222748 h 6876022"/>
              <a:gd name="connsiteX34" fmla="*/ 1609779 w 5545537"/>
              <a:gd name="connsiteY34" fmla="*/ 4205666 h 6876022"/>
              <a:gd name="connsiteX35" fmla="*/ 1577115 w 5545537"/>
              <a:gd name="connsiteY35" fmla="*/ 4208959 h 6876022"/>
              <a:gd name="connsiteX36" fmla="*/ 1055057 w 5545537"/>
              <a:gd name="connsiteY36" fmla="*/ 3686901 h 6876022"/>
              <a:gd name="connsiteX37" fmla="*/ 1577115 w 5545537"/>
              <a:gd name="connsiteY37" fmla="*/ 3164843 h 6876022"/>
              <a:gd name="connsiteX38" fmla="*/ 2088567 w 5545537"/>
              <a:gd name="connsiteY38" fmla="*/ 3581688 h 6876022"/>
              <a:gd name="connsiteX39" fmla="*/ 2098635 w 5545537"/>
              <a:gd name="connsiteY39" fmla="*/ 3681565 h 6876022"/>
              <a:gd name="connsiteX40" fmla="*/ 2113837 w 5545537"/>
              <a:gd name="connsiteY40" fmla="*/ 3681565 h 6876022"/>
              <a:gd name="connsiteX41" fmla="*/ 2113837 w 5545537"/>
              <a:gd name="connsiteY41" fmla="*/ 2637449 h 6876022"/>
              <a:gd name="connsiteX42" fmla="*/ 2114775 w 5545537"/>
              <a:gd name="connsiteY42" fmla="*/ 2637449 h 6876022"/>
              <a:gd name="connsiteX43" fmla="*/ 2113835 w 5545537"/>
              <a:gd name="connsiteY43" fmla="*/ 2628122 h 6876022"/>
              <a:gd name="connsiteX44" fmla="*/ 2635893 w 5545537"/>
              <a:gd name="connsiteY44" fmla="*/ 2106064 h 6876022"/>
              <a:gd name="connsiteX45" fmla="*/ 2649648 w 5545537"/>
              <a:gd name="connsiteY45" fmla="*/ 2107451 h 6876022"/>
              <a:gd name="connsiteX46" fmla="*/ 2649648 w 5545537"/>
              <a:gd name="connsiteY46" fmla="*/ 2090015 h 6876022"/>
              <a:gd name="connsiteX47" fmla="*/ 2635894 w 5545537"/>
              <a:gd name="connsiteY47" fmla="*/ 2091401 h 6876022"/>
              <a:gd name="connsiteX48" fmla="*/ 2113836 w 5545537"/>
              <a:gd name="connsiteY48" fmla="*/ 1569343 h 6876022"/>
              <a:gd name="connsiteX49" fmla="*/ 2635894 w 5545537"/>
              <a:gd name="connsiteY49" fmla="*/ 1047285 h 6876022"/>
              <a:gd name="connsiteX50" fmla="*/ 2649648 w 5545537"/>
              <a:gd name="connsiteY50" fmla="*/ 1048672 h 6876022"/>
              <a:gd name="connsiteX51" fmla="*/ 2649648 w 5545537"/>
              <a:gd name="connsiteY51" fmla="*/ 1043268 h 6876022"/>
              <a:gd name="connsiteX52" fmla="*/ 2689899 w 5545537"/>
              <a:gd name="connsiteY52" fmla="*/ 1039210 h 6876022"/>
              <a:gd name="connsiteX53" fmla="*/ 2689899 w 5545537"/>
              <a:gd name="connsiteY53" fmla="*/ 1038672 h 6876022"/>
              <a:gd name="connsiteX54" fmla="*/ 2635893 w 5545537"/>
              <a:gd name="connsiteY54" fmla="*/ 1044116 h 6876022"/>
              <a:gd name="connsiteX55" fmla="*/ 2113835 w 5545537"/>
              <a:gd name="connsiteY55" fmla="*/ 522058 h 6876022"/>
              <a:gd name="connsiteX56" fmla="*/ 2635893 w 5545537"/>
              <a:gd name="connsiteY56" fmla="*/ 0 h 6876022"/>
              <a:gd name="connsiteX0" fmla="*/ 1577115 w 5545537"/>
              <a:gd name="connsiteY0" fmla="*/ 2106064 h 6876003"/>
              <a:gd name="connsiteX1" fmla="*/ 2099173 w 5545537"/>
              <a:gd name="connsiteY1" fmla="*/ 2628122 h 6876003"/>
              <a:gd name="connsiteX2" fmla="*/ 1577115 w 5545537"/>
              <a:gd name="connsiteY2" fmla="*/ 3150180 h 6876003"/>
              <a:gd name="connsiteX3" fmla="*/ 1055057 w 5545537"/>
              <a:gd name="connsiteY3" fmla="*/ 2628122 h 6876003"/>
              <a:gd name="connsiteX4" fmla="*/ 1577115 w 5545537"/>
              <a:gd name="connsiteY4" fmla="*/ 2106064 h 6876003"/>
              <a:gd name="connsiteX5" fmla="*/ 2635893 w 5545537"/>
              <a:gd name="connsiteY5" fmla="*/ 0 h 6876003"/>
              <a:gd name="connsiteX6" fmla="*/ 2649648 w 5545537"/>
              <a:gd name="connsiteY6" fmla="*/ 1387 h 6876003"/>
              <a:gd name="connsiteX7" fmla="*/ 2649648 w 5545537"/>
              <a:gd name="connsiteY7" fmla="*/ 537 h 6876003"/>
              <a:gd name="connsiteX8" fmla="*/ 2689899 w 5545537"/>
              <a:gd name="connsiteY8" fmla="*/ 537 h 6876003"/>
              <a:gd name="connsiteX9" fmla="*/ 2689899 w 5545537"/>
              <a:gd name="connsiteY9" fmla="*/ 0 h 6876003"/>
              <a:gd name="connsiteX10" fmla="*/ 3846766 w 5545537"/>
              <a:gd name="connsiteY10" fmla="*/ 0 h 6876003"/>
              <a:gd name="connsiteX11" fmla="*/ 3846766 w 5545537"/>
              <a:gd name="connsiteY11" fmla="*/ 537 h 6876003"/>
              <a:gd name="connsiteX12" fmla="*/ 5545537 w 5545537"/>
              <a:gd name="connsiteY12" fmla="*/ 537 h 6876003"/>
              <a:gd name="connsiteX13" fmla="*/ 5545537 w 5545537"/>
              <a:gd name="connsiteY13" fmla="*/ 6876000 h 6876003"/>
              <a:gd name="connsiteX14" fmla="*/ 1064761 w 5545537"/>
              <a:gd name="connsiteY14" fmla="*/ 6804058 h 6876003"/>
              <a:gd name="connsiteX15" fmla="*/ 1069719 w 5545537"/>
              <a:gd name="connsiteY15" fmla="*/ 6318334 h 6876003"/>
              <a:gd name="connsiteX16" fmla="*/ 1069720 w 5545537"/>
              <a:gd name="connsiteY16" fmla="*/ 6318321 h 6876003"/>
              <a:gd name="connsiteX17" fmla="*/ 1069719 w 5545537"/>
              <a:gd name="connsiteY17" fmla="*/ 6318310 h 6876003"/>
              <a:gd name="connsiteX18" fmla="*/ 1061010 w 5545537"/>
              <a:gd name="connsiteY18" fmla="*/ 6219603 h 6876003"/>
              <a:gd name="connsiteX19" fmla="*/ 624433 w 5545537"/>
              <a:gd name="connsiteY19" fmla="*/ 5771972 h 6876003"/>
              <a:gd name="connsiteX20" fmla="*/ 426816 w 5545537"/>
              <a:gd name="connsiteY20" fmla="*/ 5735384 h 6876003"/>
              <a:gd name="connsiteX21" fmla="*/ 9971 w 5545537"/>
              <a:gd name="connsiteY21" fmla="*/ 5223932 h 6876003"/>
              <a:gd name="connsiteX22" fmla="*/ 426816 w 5545537"/>
              <a:gd name="connsiteY22" fmla="*/ 4712481 h 6876003"/>
              <a:gd name="connsiteX23" fmla="*/ 512040 w 5545537"/>
              <a:gd name="connsiteY23" fmla="*/ 4703889 h 6876003"/>
              <a:gd name="connsiteX24" fmla="*/ 512040 w 5545537"/>
              <a:gd name="connsiteY24" fmla="*/ 4703511 h 6876003"/>
              <a:gd name="connsiteX25" fmla="*/ 423086 w 5545537"/>
              <a:gd name="connsiteY25" fmla="*/ 4694544 h 6876003"/>
              <a:gd name="connsiteX26" fmla="*/ 0 w 5545537"/>
              <a:gd name="connsiteY26" fmla="*/ 4175435 h 6876003"/>
              <a:gd name="connsiteX27" fmla="*/ 529874 w 5545537"/>
              <a:gd name="connsiteY27" fmla="*/ 3645561 h 6876003"/>
              <a:gd name="connsiteX28" fmla="*/ 1048983 w 5545537"/>
              <a:gd name="connsiteY28" fmla="*/ 4068647 h 6876003"/>
              <a:gd name="connsiteX29" fmla="*/ 1057146 w 5545537"/>
              <a:gd name="connsiteY29" fmla="*/ 4149617 h 6876003"/>
              <a:gd name="connsiteX30" fmla="*/ 1069719 w 5545537"/>
              <a:gd name="connsiteY30" fmla="*/ 4620012 h 6876003"/>
              <a:gd name="connsiteX31" fmla="*/ 1095113 w 5545537"/>
              <a:gd name="connsiteY31" fmla="*/ 4538207 h 6876003"/>
              <a:gd name="connsiteX32" fmla="*/ 1576145 w 5545537"/>
              <a:gd name="connsiteY32" fmla="*/ 4219357 h 6876003"/>
              <a:gd name="connsiteX33" fmla="*/ 1609779 w 5545537"/>
              <a:gd name="connsiteY33" fmla="*/ 4222748 h 6876003"/>
              <a:gd name="connsiteX34" fmla="*/ 1609779 w 5545537"/>
              <a:gd name="connsiteY34" fmla="*/ 4205666 h 6876003"/>
              <a:gd name="connsiteX35" fmla="*/ 1577115 w 5545537"/>
              <a:gd name="connsiteY35" fmla="*/ 4208959 h 6876003"/>
              <a:gd name="connsiteX36" fmla="*/ 1055057 w 5545537"/>
              <a:gd name="connsiteY36" fmla="*/ 3686901 h 6876003"/>
              <a:gd name="connsiteX37" fmla="*/ 1577115 w 5545537"/>
              <a:gd name="connsiteY37" fmla="*/ 3164843 h 6876003"/>
              <a:gd name="connsiteX38" fmla="*/ 2088567 w 5545537"/>
              <a:gd name="connsiteY38" fmla="*/ 3581688 h 6876003"/>
              <a:gd name="connsiteX39" fmla="*/ 2098635 w 5545537"/>
              <a:gd name="connsiteY39" fmla="*/ 3681565 h 6876003"/>
              <a:gd name="connsiteX40" fmla="*/ 2113837 w 5545537"/>
              <a:gd name="connsiteY40" fmla="*/ 3681565 h 6876003"/>
              <a:gd name="connsiteX41" fmla="*/ 2113837 w 5545537"/>
              <a:gd name="connsiteY41" fmla="*/ 2637449 h 6876003"/>
              <a:gd name="connsiteX42" fmla="*/ 2114775 w 5545537"/>
              <a:gd name="connsiteY42" fmla="*/ 2637449 h 6876003"/>
              <a:gd name="connsiteX43" fmla="*/ 2113835 w 5545537"/>
              <a:gd name="connsiteY43" fmla="*/ 2628122 h 6876003"/>
              <a:gd name="connsiteX44" fmla="*/ 2635893 w 5545537"/>
              <a:gd name="connsiteY44" fmla="*/ 2106064 h 6876003"/>
              <a:gd name="connsiteX45" fmla="*/ 2649648 w 5545537"/>
              <a:gd name="connsiteY45" fmla="*/ 2107451 h 6876003"/>
              <a:gd name="connsiteX46" fmla="*/ 2649648 w 5545537"/>
              <a:gd name="connsiteY46" fmla="*/ 2090015 h 6876003"/>
              <a:gd name="connsiteX47" fmla="*/ 2635894 w 5545537"/>
              <a:gd name="connsiteY47" fmla="*/ 2091401 h 6876003"/>
              <a:gd name="connsiteX48" fmla="*/ 2113836 w 5545537"/>
              <a:gd name="connsiteY48" fmla="*/ 1569343 h 6876003"/>
              <a:gd name="connsiteX49" fmla="*/ 2635894 w 5545537"/>
              <a:gd name="connsiteY49" fmla="*/ 1047285 h 6876003"/>
              <a:gd name="connsiteX50" fmla="*/ 2649648 w 5545537"/>
              <a:gd name="connsiteY50" fmla="*/ 1048672 h 6876003"/>
              <a:gd name="connsiteX51" fmla="*/ 2649648 w 5545537"/>
              <a:gd name="connsiteY51" fmla="*/ 1043268 h 6876003"/>
              <a:gd name="connsiteX52" fmla="*/ 2689899 w 5545537"/>
              <a:gd name="connsiteY52" fmla="*/ 1039210 h 6876003"/>
              <a:gd name="connsiteX53" fmla="*/ 2689899 w 5545537"/>
              <a:gd name="connsiteY53" fmla="*/ 1038672 h 6876003"/>
              <a:gd name="connsiteX54" fmla="*/ 2635893 w 5545537"/>
              <a:gd name="connsiteY54" fmla="*/ 1044116 h 6876003"/>
              <a:gd name="connsiteX55" fmla="*/ 2113835 w 5545537"/>
              <a:gd name="connsiteY55" fmla="*/ 522058 h 6876003"/>
              <a:gd name="connsiteX56" fmla="*/ 2635893 w 5545537"/>
              <a:gd name="connsiteY56" fmla="*/ 0 h 6876003"/>
              <a:gd name="connsiteX0" fmla="*/ 1577115 w 5545537"/>
              <a:gd name="connsiteY0" fmla="*/ 2106064 h 6876022"/>
              <a:gd name="connsiteX1" fmla="*/ 2099173 w 5545537"/>
              <a:gd name="connsiteY1" fmla="*/ 2628122 h 6876022"/>
              <a:gd name="connsiteX2" fmla="*/ 1577115 w 5545537"/>
              <a:gd name="connsiteY2" fmla="*/ 3150180 h 6876022"/>
              <a:gd name="connsiteX3" fmla="*/ 1055057 w 5545537"/>
              <a:gd name="connsiteY3" fmla="*/ 2628122 h 6876022"/>
              <a:gd name="connsiteX4" fmla="*/ 1577115 w 5545537"/>
              <a:gd name="connsiteY4" fmla="*/ 2106064 h 6876022"/>
              <a:gd name="connsiteX5" fmla="*/ 2635893 w 5545537"/>
              <a:gd name="connsiteY5" fmla="*/ 0 h 6876022"/>
              <a:gd name="connsiteX6" fmla="*/ 2649648 w 5545537"/>
              <a:gd name="connsiteY6" fmla="*/ 1387 h 6876022"/>
              <a:gd name="connsiteX7" fmla="*/ 2649648 w 5545537"/>
              <a:gd name="connsiteY7" fmla="*/ 537 h 6876022"/>
              <a:gd name="connsiteX8" fmla="*/ 2689899 w 5545537"/>
              <a:gd name="connsiteY8" fmla="*/ 537 h 6876022"/>
              <a:gd name="connsiteX9" fmla="*/ 2689899 w 5545537"/>
              <a:gd name="connsiteY9" fmla="*/ 0 h 6876022"/>
              <a:gd name="connsiteX10" fmla="*/ 3846766 w 5545537"/>
              <a:gd name="connsiteY10" fmla="*/ 0 h 6876022"/>
              <a:gd name="connsiteX11" fmla="*/ 3846766 w 5545537"/>
              <a:gd name="connsiteY11" fmla="*/ 537 h 6876022"/>
              <a:gd name="connsiteX12" fmla="*/ 5545537 w 5545537"/>
              <a:gd name="connsiteY12" fmla="*/ 537 h 6876022"/>
              <a:gd name="connsiteX13" fmla="*/ 5545537 w 5545537"/>
              <a:gd name="connsiteY13" fmla="*/ 6876000 h 6876022"/>
              <a:gd name="connsiteX14" fmla="*/ 1064761 w 5545537"/>
              <a:gd name="connsiteY14" fmla="*/ 6863300 h 6876022"/>
              <a:gd name="connsiteX15" fmla="*/ 1069719 w 5545537"/>
              <a:gd name="connsiteY15" fmla="*/ 6318334 h 6876022"/>
              <a:gd name="connsiteX16" fmla="*/ 1069720 w 5545537"/>
              <a:gd name="connsiteY16" fmla="*/ 6318321 h 6876022"/>
              <a:gd name="connsiteX17" fmla="*/ 1069719 w 5545537"/>
              <a:gd name="connsiteY17" fmla="*/ 6318310 h 6876022"/>
              <a:gd name="connsiteX18" fmla="*/ 1061010 w 5545537"/>
              <a:gd name="connsiteY18" fmla="*/ 6219603 h 6876022"/>
              <a:gd name="connsiteX19" fmla="*/ 624433 w 5545537"/>
              <a:gd name="connsiteY19" fmla="*/ 5771972 h 6876022"/>
              <a:gd name="connsiteX20" fmla="*/ 426816 w 5545537"/>
              <a:gd name="connsiteY20" fmla="*/ 5735384 h 6876022"/>
              <a:gd name="connsiteX21" fmla="*/ 9971 w 5545537"/>
              <a:gd name="connsiteY21" fmla="*/ 5223932 h 6876022"/>
              <a:gd name="connsiteX22" fmla="*/ 426816 w 5545537"/>
              <a:gd name="connsiteY22" fmla="*/ 4712481 h 6876022"/>
              <a:gd name="connsiteX23" fmla="*/ 512040 w 5545537"/>
              <a:gd name="connsiteY23" fmla="*/ 4703889 h 6876022"/>
              <a:gd name="connsiteX24" fmla="*/ 512040 w 5545537"/>
              <a:gd name="connsiteY24" fmla="*/ 4703511 h 6876022"/>
              <a:gd name="connsiteX25" fmla="*/ 423086 w 5545537"/>
              <a:gd name="connsiteY25" fmla="*/ 4694544 h 6876022"/>
              <a:gd name="connsiteX26" fmla="*/ 0 w 5545537"/>
              <a:gd name="connsiteY26" fmla="*/ 4175435 h 6876022"/>
              <a:gd name="connsiteX27" fmla="*/ 529874 w 5545537"/>
              <a:gd name="connsiteY27" fmla="*/ 3645561 h 6876022"/>
              <a:gd name="connsiteX28" fmla="*/ 1048983 w 5545537"/>
              <a:gd name="connsiteY28" fmla="*/ 4068647 h 6876022"/>
              <a:gd name="connsiteX29" fmla="*/ 1057146 w 5545537"/>
              <a:gd name="connsiteY29" fmla="*/ 4149617 h 6876022"/>
              <a:gd name="connsiteX30" fmla="*/ 1069719 w 5545537"/>
              <a:gd name="connsiteY30" fmla="*/ 4620012 h 6876022"/>
              <a:gd name="connsiteX31" fmla="*/ 1095113 w 5545537"/>
              <a:gd name="connsiteY31" fmla="*/ 4538207 h 6876022"/>
              <a:gd name="connsiteX32" fmla="*/ 1576145 w 5545537"/>
              <a:gd name="connsiteY32" fmla="*/ 4219357 h 6876022"/>
              <a:gd name="connsiteX33" fmla="*/ 1609779 w 5545537"/>
              <a:gd name="connsiteY33" fmla="*/ 4222748 h 6876022"/>
              <a:gd name="connsiteX34" fmla="*/ 1609779 w 5545537"/>
              <a:gd name="connsiteY34" fmla="*/ 4205666 h 6876022"/>
              <a:gd name="connsiteX35" fmla="*/ 1577115 w 5545537"/>
              <a:gd name="connsiteY35" fmla="*/ 4208959 h 6876022"/>
              <a:gd name="connsiteX36" fmla="*/ 1055057 w 5545537"/>
              <a:gd name="connsiteY36" fmla="*/ 3686901 h 6876022"/>
              <a:gd name="connsiteX37" fmla="*/ 1577115 w 5545537"/>
              <a:gd name="connsiteY37" fmla="*/ 3164843 h 6876022"/>
              <a:gd name="connsiteX38" fmla="*/ 2088567 w 5545537"/>
              <a:gd name="connsiteY38" fmla="*/ 3581688 h 6876022"/>
              <a:gd name="connsiteX39" fmla="*/ 2098635 w 5545537"/>
              <a:gd name="connsiteY39" fmla="*/ 3681565 h 6876022"/>
              <a:gd name="connsiteX40" fmla="*/ 2113837 w 5545537"/>
              <a:gd name="connsiteY40" fmla="*/ 3681565 h 6876022"/>
              <a:gd name="connsiteX41" fmla="*/ 2113837 w 5545537"/>
              <a:gd name="connsiteY41" fmla="*/ 2637449 h 6876022"/>
              <a:gd name="connsiteX42" fmla="*/ 2114775 w 5545537"/>
              <a:gd name="connsiteY42" fmla="*/ 2637449 h 6876022"/>
              <a:gd name="connsiteX43" fmla="*/ 2113835 w 5545537"/>
              <a:gd name="connsiteY43" fmla="*/ 2628122 h 6876022"/>
              <a:gd name="connsiteX44" fmla="*/ 2635893 w 5545537"/>
              <a:gd name="connsiteY44" fmla="*/ 2106064 h 6876022"/>
              <a:gd name="connsiteX45" fmla="*/ 2649648 w 5545537"/>
              <a:gd name="connsiteY45" fmla="*/ 2107451 h 6876022"/>
              <a:gd name="connsiteX46" fmla="*/ 2649648 w 5545537"/>
              <a:gd name="connsiteY46" fmla="*/ 2090015 h 6876022"/>
              <a:gd name="connsiteX47" fmla="*/ 2635894 w 5545537"/>
              <a:gd name="connsiteY47" fmla="*/ 2091401 h 6876022"/>
              <a:gd name="connsiteX48" fmla="*/ 2113836 w 5545537"/>
              <a:gd name="connsiteY48" fmla="*/ 1569343 h 6876022"/>
              <a:gd name="connsiteX49" fmla="*/ 2635894 w 5545537"/>
              <a:gd name="connsiteY49" fmla="*/ 1047285 h 6876022"/>
              <a:gd name="connsiteX50" fmla="*/ 2649648 w 5545537"/>
              <a:gd name="connsiteY50" fmla="*/ 1048672 h 6876022"/>
              <a:gd name="connsiteX51" fmla="*/ 2649648 w 5545537"/>
              <a:gd name="connsiteY51" fmla="*/ 1043268 h 6876022"/>
              <a:gd name="connsiteX52" fmla="*/ 2689899 w 5545537"/>
              <a:gd name="connsiteY52" fmla="*/ 1039210 h 6876022"/>
              <a:gd name="connsiteX53" fmla="*/ 2689899 w 5545537"/>
              <a:gd name="connsiteY53" fmla="*/ 1038672 h 6876022"/>
              <a:gd name="connsiteX54" fmla="*/ 2635893 w 5545537"/>
              <a:gd name="connsiteY54" fmla="*/ 1044116 h 6876022"/>
              <a:gd name="connsiteX55" fmla="*/ 2113835 w 5545537"/>
              <a:gd name="connsiteY55" fmla="*/ 522058 h 6876022"/>
              <a:gd name="connsiteX56" fmla="*/ 2635893 w 5545537"/>
              <a:gd name="connsiteY56" fmla="*/ 0 h 6876022"/>
              <a:gd name="connsiteX0" fmla="*/ 1577115 w 5545537"/>
              <a:gd name="connsiteY0" fmla="*/ 2106064 h 6876022"/>
              <a:gd name="connsiteX1" fmla="*/ 2099173 w 5545537"/>
              <a:gd name="connsiteY1" fmla="*/ 2628122 h 6876022"/>
              <a:gd name="connsiteX2" fmla="*/ 1577115 w 5545537"/>
              <a:gd name="connsiteY2" fmla="*/ 3150180 h 6876022"/>
              <a:gd name="connsiteX3" fmla="*/ 1055057 w 5545537"/>
              <a:gd name="connsiteY3" fmla="*/ 2628122 h 6876022"/>
              <a:gd name="connsiteX4" fmla="*/ 1577115 w 5545537"/>
              <a:gd name="connsiteY4" fmla="*/ 2106064 h 6876022"/>
              <a:gd name="connsiteX5" fmla="*/ 2635893 w 5545537"/>
              <a:gd name="connsiteY5" fmla="*/ 0 h 6876022"/>
              <a:gd name="connsiteX6" fmla="*/ 2649648 w 5545537"/>
              <a:gd name="connsiteY6" fmla="*/ 1387 h 6876022"/>
              <a:gd name="connsiteX7" fmla="*/ 2649648 w 5545537"/>
              <a:gd name="connsiteY7" fmla="*/ 537 h 6876022"/>
              <a:gd name="connsiteX8" fmla="*/ 2689899 w 5545537"/>
              <a:gd name="connsiteY8" fmla="*/ 537 h 6876022"/>
              <a:gd name="connsiteX9" fmla="*/ 2689899 w 5545537"/>
              <a:gd name="connsiteY9" fmla="*/ 0 h 6876022"/>
              <a:gd name="connsiteX10" fmla="*/ 3846766 w 5545537"/>
              <a:gd name="connsiteY10" fmla="*/ 0 h 6876022"/>
              <a:gd name="connsiteX11" fmla="*/ 3846766 w 5545537"/>
              <a:gd name="connsiteY11" fmla="*/ 537 h 6876022"/>
              <a:gd name="connsiteX12" fmla="*/ 5545537 w 5545537"/>
              <a:gd name="connsiteY12" fmla="*/ 537 h 6876022"/>
              <a:gd name="connsiteX13" fmla="*/ 5545537 w 5545537"/>
              <a:gd name="connsiteY13" fmla="*/ 6876000 h 6876022"/>
              <a:gd name="connsiteX14" fmla="*/ 1072488 w 5545537"/>
              <a:gd name="connsiteY14" fmla="*/ 6863300 h 6876022"/>
              <a:gd name="connsiteX15" fmla="*/ 1069719 w 5545537"/>
              <a:gd name="connsiteY15" fmla="*/ 6318334 h 6876022"/>
              <a:gd name="connsiteX16" fmla="*/ 1069720 w 5545537"/>
              <a:gd name="connsiteY16" fmla="*/ 6318321 h 6876022"/>
              <a:gd name="connsiteX17" fmla="*/ 1069719 w 5545537"/>
              <a:gd name="connsiteY17" fmla="*/ 6318310 h 6876022"/>
              <a:gd name="connsiteX18" fmla="*/ 1061010 w 5545537"/>
              <a:gd name="connsiteY18" fmla="*/ 6219603 h 6876022"/>
              <a:gd name="connsiteX19" fmla="*/ 624433 w 5545537"/>
              <a:gd name="connsiteY19" fmla="*/ 5771972 h 6876022"/>
              <a:gd name="connsiteX20" fmla="*/ 426816 w 5545537"/>
              <a:gd name="connsiteY20" fmla="*/ 5735384 h 6876022"/>
              <a:gd name="connsiteX21" fmla="*/ 9971 w 5545537"/>
              <a:gd name="connsiteY21" fmla="*/ 5223932 h 6876022"/>
              <a:gd name="connsiteX22" fmla="*/ 426816 w 5545537"/>
              <a:gd name="connsiteY22" fmla="*/ 4712481 h 6876022"/>
              <a:gd name="connsiteX23" fmla="*/ 512040 w 5545537"/>
              <a:gd name="connsiteY23" fmla="*/ 4703889 h 6876022"/>
              <a:gd name="connsiteX24" fmla="*/ 512040 w 5545537"/>
              <a:gd name="connsiteY24" fmla="*/ 4703511 h 6876022"/>
              <a:gd name="connsiteX25" fmla="*/ 423086 w 5545537"/>
              <a:gd name="connsiteY25" fmla="*/ 4694544 h 6876022"/>
              <a:gd name="connsiteX26" fmla="*/ 0 w 5545537"/>
              <a:gd name="connsiteY26" fmla="*/ 4175435 h 6876022"/>
              <a:gd name="connsiteX27" fmla="*/ 529874 w 5545537"/>
              <a:gd name="connsiteY27" fmla="*/ 3645561 h 6876022"/>
              <a:gd name="connsiteX28" fmla="*/ 1048983 w 5545537"/>
              <a:gd name="connsiteY28" fmla="*/ 4068647 h 6876022"/>
              <a:gd name="connsiteX29" fmla="*/ 1057146 w 5545537"/>
              <a:gd name="connsiteY29" fmla="*/ 4149617 h 6876022"/>
              <a:gd name="connsiteX30" fmla="*/ 1069719 w 5545537"/>
              <a:gd name="connsiteY30" fmla="*/ 4620012 h 6876022"/>
              <a:gd name="connsiteX31" fmla="*/ 1095113 w 5545537"/>
              <a:gd name="connsiteY31" fmla="*/ 4538207 h 6876022"/>
              <a:gd name="connsiteX32" fmla="*/ 1576145 w 5545537"/>
              <a:gd name="connsiteY32" fmla="*/ 4219357 h 6876022"/>
              <a:gd name="connsiteX33" fmla="*/ 1609779 w 5545537"/>
              <a:gd name="connsiteY33" fmla="*/ 4222748 h 6876022"/>
              <a:gd name="connsiteX34" fmla="*/ 1609779 w 5545537"/>
              <a:gd name="connsiteY34" fmla="*/ 4205666 h 6876022"/>
              <a:gd name="connsiteX35" fmla="*/ 1577115 w 5545537"/>
              <a:gd name="connsiteY35" fmla="*/ 4208959 h 6876022"/>
              <a:gd name="connsiteX36" fmla="*/ 1055057 w 5545537"/>
              <a:gd name="connsiteY36" fmla="*/ 3686901 h 6876022"/>
              <a:gd name="connsiteX37" fmla="*/ 1577115 w 5545537"/>
              <a:gd name="connsiteY37" fmla="*/ 3164843 h 6876022"/>
              <a:gd name="connsiteX38" fmla="*/ 2088567 w 5545537"/>
              <a:gd name="connsiteY38" fmla="*/ 3581688 h 6876022"/>
              <a:gd name="connsiteX39" fmla="*/ 2098635 w 5545537"/>
              <a:gd name="connsiteY39" fmla="*/ 3681565 h 6876022"/>
              <a:gd name="connsiteX40" fmla="*/ 2113837 w 5545537"/>
              <a:gd name="connsiteY40" fmla="*/ 3681565 h 6876022"/>
              <a:gd name="connsiteX41" fmla="*/ 2113837 w 5545537"/>
              <a:gd name="connsiteY41" fmla="*/ 2637449 h 6876022"/>
              <a:gd name="connsiteX42" fmla="*/ 2114775 w 5545537"/>
              <a:gd name="connsiteY42" fmla="*/ 2637449 h 6876022"/>
              <a:gd name="connsiteX43" fmla="*/ 2113835 w 5545537"/>
              <a:gd name="connsiteY43" fmla="*/ 2628122 h 6876022"/>
              <a:gd name="connsiteX44" fmla="*/ 2635893 w 5545537"/>
              <a:gd name="connsiteY44" fmla="*/ 2106064 h 6876022"/>
              <a:gd name="connsiteX45" fmla="*/ 2649648 w 5545537"/>
              <a:gd name="connsiteY45" fmla="*/ 2107451 h 6876022"/>
              <a:gd name="connsiteX46" fmla="*/ 2649648 w 5545537"/>
              <a:gd name="connsiteY46" fmla="*/ 2090015 h 6876022"/>
              <a:gd name="connsiteX47" fmla="*/ 2635894 w 5545537"/>
              <a:gd name="connsiteY47" fmla="*/ 2091401 h 6876022"/>
              <a:gd name="connsiteX48" fmla="*/ 2113836 w 5545537"/>
              <a:gd name="connsiteY48" fmla="*/ 1569343 h 6876022"/>
              <a:gd name="connsiteX49" fmla="*/ 2635894 w 5545537"/>
              <a:gd name="connsiteY49" fmla="*/ 1047285 h 6876022"/>
              <a:gd name="connsiteX50" fmla="*/ 2649648 w 5545537"/>
              <a:gd name="connsiteY50" fmla="*/ 1048672 h 6876022"/>
              <a:gd name="connsiteX51" fmla="*/ 2649648 w 5545537"/>
              <a:gd name="connsiteY51" fmla="*/ 1043268 h 6876022"/>
              <a:gd name="connsiteX52" fmla="*/ 2689899 w 5545537"/>
              <a:gd name="connsiteY52" fmla="*/ 1039210 h 6876022"/>
              <a:gd name="connsiteX53" fmla="*/ 2689899 w 5545537"/>
              <a:gd name="connsiteY53" fmla="*/ 1038672 h 6876022"/>
              <a:gd name="connsiteX54" fmla="*/ 2635893 w 5545537"/>
              <a:gd name="connsiteY54" fmla="*/ 1044116 h 6876022"/>
              <a:gd name="connsiteX55" fmla="*/ 2113835 w 5545537"/>
              <a:gd name="connsiteY55" fmla="*/ 522058 h 6876022"/>
              <a:gd name="connsiteX56" fmla="*/ 2635893 w 5545537"/>
              <a:gd name="connsiteY56" fmla="*/ 0 h 6876022"/>
              <a:gd name="connsiteX0" fmla="*/ 1577115 w 5545537"/>
              <a:gd name="connsiteY0" fmla="*/ 2106064 h 6876022"/>
              <a:gd name="connsiteX1" fmla="*/ 2099173 w 5545537"/>
              <a:gd name="connsiteY1" fmla="*/ 2628122 h 6876022"/>
              <a:gd name="connsiteX2" fmla="*/ 1577115 w 5545537"/>
              <a:gd name="connsiteY2" fmla="*/ 3150180 h 6876022"/>
              <a:gd name="connsiteX3" fmla="*/ 1055057 w 5545537"/>
              <a:gd name="connsiteY3" fmla="*/ 2628122 h 6876022"/>
              <a:gd name="connsiteX4" fmla="*/ 1577115 w 5545537"/>
              <a:gd name="connsiteY4" fmla="*/ 2106064 h 6876022"/>
              <a:gd name="connsiteX5" fmla="*/ 2635893 w 5545537"/>
              <a:gd name="connsiteY5" fmla="*/ 0 h 6876022"/>
              <a:gd name="connsiteX6" fmla="*/ 2649648 w 5545537"/>
              <a:gd name="connsiteY6" fmla="*/ 1387 h 6876022"/>
              <a:gd name="connsiteX7" fmla="*/ 2649648 w 5545537"/>
              <a:gd name="connsiteY7" fmla="*/ 537 h 6876022"/>
              <a:gd name="connsiteX8" fmla="*/ 2689899 w 5545537"/>
              <a:gd name="connsiteY8" fmla="*/ 537 h 6876022"/>
              <a:gd name="connsiteX9" fmla="*/ 2689899 w 5545537"/>
              <a:gd name="connsiteY9" fmla="*/ 0 h 6876022"/>
              <a:gd name="connsiteX10" fmla="*/ 3846766 w 5545537"/>
              <a:gd name="connsiteY10" fmla="*/ 0 h 6876022"/>
              <a:gd name="connsiteX11" fmla="*/ 3846766 w 5545537"/>
              <a:gd name="connsiteY11" fmla="*/ 537 h 6876022"/>
              <a:gd name="connsiteX12" fmla="*/ 5545537 w 5545537"/>
              <a:gd name="connsiteY12" fmla="*/ 537 h 6876022"/>
              <a:gd name="connsiteX13" fmla="*/ 5545537 w 5545537"/>
              <a:gd name="connsiteY13" fmla="*/ 6876000 h 6876022"/>
              <a:gd name="connsiteX14" fmla="*/ 1067337 w 5545537"/>
              <a:gd name="connsiteY14" fmla="*/ 6863300 h 6876022"/>
              <a:gd name="connsiteX15" fmla="*/ 1069719 w 5545537"/>
              <a:gd name="connsiteY15" fmla="*/ 6318334 h 6876022"/>
              <a:gd name="connsiteX16" fmla="*/ 1069720 w 5545537"/>
              <a:gd name="connsiteY16" fmla="*/ 6318321 h 6876022"/>
              <a:gd name="connsiteX17" fmla="*/ 1069719 w 5545537"/>
              <a:gd name="connsiteY17" fmla="*/ 6318310 h 6876022"/>
              <a:gd name="connsiteX18" fmla="*/ 1061010 w 5545537"/>
              <a:gd name="connsiteY18" fmla="*/ 6219603 h 6876022"/>
              <a:gd name="connsiteX19" fmla="*/ 624433 w 5545537"/>
              <a:gd name="connsiteY19" fmla="*/ 5771972 h 6876022"/>
              <a:gd name="connsiteX20" fmla="*/ 426816 w 5545537"/>
              <a:gd name="connsiteY20" fmla="*/ 5735384 h 6876022"/>
              <a:gd name="connsiteX21" fmla="*/ 9971 w 5545537"/>
              <a:gd name="connsiteY21" fmla="*/ 5223932 h 6876022"/>
              <a:gd name="connsiteX22" fmla="*/ 426816 w 5545537"/>
              <a:gd name="connsiteY22" fmla="*/ 4712481 h 6876022"/>
              <a:gd name="connsiteX23" fmla="*/ 512040 w 5545537"/>
              <a:gd name="connsiteY23" fmla="*/ 4703889 h 6876022"/>
              <a:gd name="connsiteX24" fmla="*/ 512040 w 5545537"/>
              <a:gd name="connsiteY24" fmla="*/ 4703511 h 6876022"/>
              <a:gd name="connsiteX25" fmla="*/ 423086 w 5545537"/>
              <a:gd name="connsiteY25" fmla="*/ 4694544 h 6876022"/>
              <a:gd name="connsiteX26" fmla="*/ 0 w 5545537"/>
              <a:gd name="connsiteY26" fmla="*/ 4175435 h 6876022"/>
              <a:gd name="connsiteX27" fmla="*/ 529874 w 5545537"/>
              <a:gd name="connsiteY27" fmla="*/ 3645561 h 6876022"/>
              <a:gd name="connsiteX28" fmla="*/ 1048983 w 5545537"/>
              <a:gd name="connsiteY28" fmla="*/ 4068647 h 6876022"/>
              <a:gd name="connsiteX29" fmla="*/ 1057146 w 5545537"/>
              <a:gd name="connsiteY29" fmla="*/ 4149617 h 6876022"/>
              <a:gd name="connsiteX30" fmla="*/ 1069719 w 5545537"/>
              <a:gd name="connsiteY30" fmla="*/ 4620012 h 6876022"/>
              <a:gd name="connsiteX31" fmla="*/ 1095113 w 5545537"/>
              <a:gd name="connsiteY31" fmla="*/ 4538207 h 6876022"/>
              <a:gd name="connsiteX32" fmla="*/ 1576145 w 5545537"/>
              <a:gd name="connsiteY32" fmla="*/ 4219357 h 6876022"/>
              <a:gd name="connsiteX33" fmla="*/ 1609779 w 5545537"/>
              <a:gd name="connsiteY33" fmla="*/ 4222748 h 6876022"/>
              <a:gd name="connsiteX34" fmla="*/ 1609779 w 5545537"/>
              <a:gd name="connsiteY34" fmla="*/ 4205666 h 6876022"/>
              <a:gd name="connsiteX35" fmla="*/ 1577115 w 5545537"/>
              <a:gd name="connsiteY35" fmla="*/ 4208959 h 6876022"/>
              <a:gd name="connsiteX36" fmla="*/ 1055057 w 5545537"/>
              <a:gd name="connsiteY36" fmla="*/ 3686901 h 6876022"/>
              <a:gd name="connsiteX37" fmla="*/ 1577115 w 5545537"/>
              <a:gd name="connsiteY37" fmla="*/ 3164843 h 6876022"/>
              <a:gd name="connsiteX38" fmla="*/ 2088567 w 5545537"/>
              <a:gd name="connsiteY38" fmla="*/ 3581688 h 6876022"/>
              <a:gd name="connsiteX39" fmla="*/ 2098635 w 5545537"/>
              <a:gd name="connsiteY39" fmla="*/ 3681565 h 6876022"/>
              <a:gd name="connsiteX40" fmla="*/ 2113837 w 5545537"/>
              <a:gd name="connsiteY40" fmla="*/ 3681565 h 6876022"/>
              <a:gd name="connsiteX41" fmla="*/ 2113837 w 5545537"/>
              <a:gd name="connsiteY41" fmla="*/ 2637449 h 6876022"/>
              <a:gd name="connsiteX42" fmla="*/ 2114775 w 5545537"/>
              <a:gd name="connsiteY42" fmla="*/ 2637449 h 6876022"/>
              <a:gd name="connsiteX43" fmla="*/ 2113835 w 5545537"/>
              <a:gd name="connsiteY43" fmla="*/ 2628122 h 6876022"/>
              <a:gd name="connsiteX44" fmla="*/ 2635893 w 5545537"/>
              <a:gd name="connsiteY44" fmla="*/ 2106064 h 6876022"/>
              <a:gd name="connsiteX45" fmla="*/ 2649648 w 5545537"/>
              <a:gd name="connsiteY45" fmla="*/ 2107451 h 6876022"/>
              <a:gd name="connsiteX46" fmla="*/ 2649648 w 5545537"/>
              <a:gd name="connsiteY46" fmla="*/ 2090015 h 6876022"/>
              <a:gd name="connsiteX47" fmla="*/ 2635894 w 5545537"/>
              <a:gd name="connsiteY47" fmla="*/ 2091401 h 6876022"/>
              <a:gd name="connsiteX48" fmla="*/ 2113836 w 5545537"/>
              <a:gd name="connsiteY48" fmla="*/ 1569343 h 6876022"/>
              <a:gd name="connsiteX49" fmla="*/ 2635894 w 5545537"/>
              <a:gd name="connsiteY49" fmla="*/ 1047285 h 6876022"/>
              <a:gd name="connsiteX50" fmla="*/ 2649648 w 5545537"/>
              <a:gd name="connsiteY50" fmla="*/ 1048672 h 6876022"/>
              <a:gd name="connsiteX51" fmla="*/ 2649648 w 5545537"/>
              <a:gd name="connsiteY51" fmla="*/ 1043268 h 6876022"/>
              <a:gd name="connsiteX52" fmla="*/ 2689899 w 5545537"/>
              <a:gd name="connsiteY52" fmla="*/ 1039210 h 6876022"/>
              <a:gd name="connsiteX53" fmla="*/ 2689899 w 5545537"/>
              <a:gd name="connsiteY53" fmla="*/ 1038672 h 6876022"/>
              <a:gd name="connsiteX54" fmla="*/ 2635893 w 5545537"/>
              <a:gd name="connsiteY54" fmla="*/ 1044116 h 6876022"/>
              <a:gd name="connsiteX55" fmla="*/ 2113835 w 5545537"/>
              <a:gd name="connsiteY55" fmla="*/ 522058 h 6876022"/>
              <a:gd name="connsiteX56" fmla="*/ 2635893 w 5545537"/>
              <a:gd name="connsiteY56" fmla="*/ 0 h 6876022"/>
              <a:gd name="connsiteX0" fmla="*/ 1577115 w 5545537"/>
              <a:gd name="connsiteY0" fmla="*/ 2106064 h 6942972"/>
              <a:gd name="connsiteX1" fmla="*/ 2099173 w 5545537"/>
              <a:gd name="connsiteY1" fmla="*/ 2628122 h 6942972"/>
              <a:gd name="connsiteX2" fmla="*/ 1577115 w 5545537"/>
              <a:gd name="connsiteY2" fmla="*/ 3150180 h 6942972"/>
              <a:gd name="connsiteX3" fmla="*/ 1055057 w 5545537"/>
              <a:gd name="connsiteY3" fmla="*/ 2628122 h 6942972"/>
              <a:gd name="connsiteX4" fmla="*/ 1577115 w 5545537"/>
              <a:gd name="connsiteY4" fmla="*/ 2106064 h 6942972"/>
              <a:gd name="connsiteX5" fmla="*/ 2635893 w 5545537"/>
              <a:gd name="connsiteY5" fmla="*/ 0 h 6942972"/>
              <a:gd name="connsiteX6" fmla="*/ 2649648 w 5545537"/>
              <a:gd name="connsiteY6" fmla="*/ 1387 h 6942972"/>
              <a:gd name="connsiteX7" fmla="*/ 2649648 w 5545537"/>
              <a:gd name="connsiteY7" fmla="*/ 537 h 6942972"/>
              <a:gd name="connsiteX8" fmla="*/ 2689899 w 5545537"/>
              <a:gd name="connsiteY8" fmla="*/ 537 h 6942972"/>
              <a:gd name="connsiteX9" fmla="*/ 2689899 w 5545537"/>
              <a:gd name="connsiteY9" fmla="*/ 0 h 6942972"/>
              <a:gd name="connsiteX10" fmla="*/ 3846766 w 5545537"/>
              <a:gd name="connsiteY10" fmla="*/ 0 h 6942972"/>
              <a:gd name="connsiteX11" fmla="*/ 3846766 w 5545537"/>
              <a:gd name="connsiteY11" fmla="*/ 537 h 6942972"/>
              <a:gd name="connsiteX12" fmla="*/ 5545537 w 5545537"/>
              <a:gd name="connsiteY12" fmla="*/ 537 h 6942972"/>
              <a:gd name="connsiteX13" fmla="*/ 5540385 w 5545537"/>
              <a:gd name="connsiteY13" fmla="*/ 6942970 h 6942972"/>
              <a:gd name="connsiteX14" fmla="*/ 1067337 w 5545537"/>
              <a:gd name="connsiteY14" fmla="*/ 6863300 h 6942972"/>
              <a:gd name="connsiteX15" fmla="*/ 1069719 w 5545537"/>
              <a:gd name="connsiteY15" fmla="*/ 6318334 h 6942972"/>
              <a:gd name="connsiteX16" fmla="*/ 1069720 w 5545537"/>
              <a:gd name="connsiteY16" fmla="*/ 6318321 h 6942972"/>
              <a:gd name="connsiteX17" fmla="*/ 1069719 w 5545537"/>
              <a:gd name="connsiteY17" fmla="*/ 6318310 h 6942972"/>
              <a:gd name="connsiteX18" fmla="*/ 1061010 w 5545537"/>
              <a:gd name="connsiteY18" fmla="*/ 6219603 h 6942972"/>
              <a:gd name="connsiteX19" fmla="*/ 624433 w 5545537"/>
              <a:gd name="connsiteY19" fmla="*/ 5771972 h 6942972"/>
              <a:gd name="connsiteX20" fmla="*/ 426816 w 5545537"/>
              <a:gd name="connsiteY20" fmla="*/ 5735384 h 6942972"/>
              <a:gd name="connsiteX21" fmla="*/ 9971 w 5545537"/>
              <a:gd name="connsiteY21" fmla="*/ 5223932 h 6942972"/>
              <a:gd name="connsiteX22" fmla="*/ 426816 w 5545537"/>
              <a:gd name="connsiteY22" fmla="*/ 4712481 h 6942972"/>
              <a:gd name="connsiteX23" fmla="*/ 512040 w 5545537"/>
              <a:gd name="connsiteY23" fmla="*/ 4703889 h 6942972"/>
              <a:gd name="connsiteX24" fmla="*/ 512040 w 5545537"/>
              <a:gd name="connsiteY24" fmla="*/ 4703511 h 6942972"/>
              <a:gd name="connsiteX25" fmla="*/ 423086 w 5545537"/>
              <a:gd name="connsiteY25" fmla="*/ 4694544 h 6942972"/>
              <a:gd name="connsiteX26" fmla="*/ 0 w 5545537"/>
              <a:gd name="connsiteY26" fmla="*/ 4175435 h 6942972"/>
              <a:gd name="connsiteX27" fmla="*/ 529874 w 5545537"/>
              <a:gd name="connsiteY27" fmla="*/ 3645561 h 6942972"/>
              <a:gd name="connsiteX28" fmla="*/ 1048983 w 5545537"/>
              <a:gd name="connsiteY28" fmla="*/ 4068647 h 6942972"/>
              <a:gd name="connsiteX29" fmla="*/ 1057146 w 5545537"/>
              <a:gd name="connsiteY29" fmla="*/ 4149617 h 6942972"/>
              <a:gd name="connsiteX30" fmla="*/ 1069719 w 5545537"/>
              <a:gd name="connsiteY30" fmla="*/ 4620012 h 6942972"/>
              <a:gd name="connsiteX31" fmla="*/ 1095113 w 5545537"/>
              <a:gd name="connsiteY31" fmla="*/ 4538207 h 6942972"/>
              <a:gd name="connsiteX32" fmla="*/ 1576145 w 5545537"/>
              <a:gd name="connsiteY32" fmla="*/ 4219357 h 6942972"/>
              <a:gd name="connsiteX33" fmla="*/ 1609779 w 5545537"/>
              <a:gd name="connsiteY33" fmla="*/ 4222748 h 6942972"/>
              <a:gd name="connsiteX34" fmla="*/ 1609779 w 5545537"/>
              <a:gd name="connsiteY34" fmla="*/ 4205666 h 6942972"/>
              <a:gd name="connsiteX35" fmla="*/ 1577115 w 5545537"/>
              <a:gd name="connsiteY35" fmla="*/ 4208959 h 6942972"/>
              <a:gd name="connsiteX36" fmla="*/ 1055057 w 5545537"/>
              <a:gd name="connsiteY36" fmla="*/ 3686901 h 6942972"/>
              <a:gd name="connsiteX37" fmla="*/ 1577115 w 5545537"/>
              <a:gd name="connsiteY37" fmla="*/ 3164843 h 6942972"/>
              <a:gd name="connsiteX38" fmla="*/ 2088567 w 5545537"/>
              <a:gd name="connsiteY38" fmla="*/ 3581688 h 6942972"/>
              <a:gd name="connsiteX39" fmla="*/ 2098635 w 5545537"/>
              <a:gd name="connsiteY39" fmla="*/ 3681565 h 6942972"/>
              <a:gd name="connsiteX40" fmla="*/ 2113837 w 5545537"/>
              <a:gd name="connsiteY40" fmla="*/ 3681565 h 6942972"/>
              <a:gd name="connsiteX41" fmla="*/ 2113837 w 5545537"/>
              <a:gd name="connsiteY41" fmla="*/ 2637449 h 6942972"/>
              <a:gd name="connsiteX42" fmla="*/ 2114775 w 5545537"/>
              <a:gd name="connsiteY42" fmla="*/ 2637449 h 6942972"/>
              <a:gd name="connsiteX43" fmla="*/ 2113835 w 5545537"/>
              <a:gd name="connsiteY43" fmla="*/ 2628122 h 6942972"/>
              <a:gd name="connsiteX44" fmla="*/ 2635893 w 5545537"/>
              <a:gd name="connsiteY44" fmla="*/ 2106064 h 6942972"/>
              <a:gd name="connsiteX45" fmla="*/ 2649648 w 5545537"/>
              <a:gd name="connsiteY45" fmla="*/ 2107451 h 6942972"/>
              <a:gd name="connsiteX46" fmla="*/ 2649648 w 5545537"/>
              <a:gd name="connsiteY46" fmla="*/ 2090015 h 6942972"/>
              <a:gd name="connsiteX47" fmla="*/ 2635894 w 5545537"/>
              <a:gd name="connsiteY47" fmla="*/ 2091401 h 6942972"/>
              <a:gd name="connsiteX48" fmla="*/ 2113836 w 5545537"/>
              <a:gd name="connsiteY48" fmla="*/ 1569343 h 6942972"/>
              <a:gd name="connsiteX49" fmla="*/ 2635894 w 5545537"/>
              <a:gd name="connsiteY49" fmla="*/ 1047285 h 6942972"/>
              <a:gd name="connsiteX50" fmla="*/ 2649648 w 5545537"/>
              <a:gd name="connsiteY50" fmla="*/ 1048672 h 6942972"/>
              <a:gd name="connsiteX51" fmla="*/ 2649648 w 5545537"/>
              <a:gd name="connsiteY51" fmla="*/ 1043268 h 6942972"/>
              <a:gd name="connsiteX52" fmla="*/ 2689899 w 5545537"/>
              <a:gd name="connsiteY52" fmla="*/ 1039210 h 6942972"/>
              <a:gd name="connsiteX53" fmla="*/ 2689899 w 5545537"/>
              <a:gd name="connsiteY53" fmla="*/ 1038672 h 6942972"/>
              <a:gd name="connsiteX54" fmla="*/ 2635893 w 5545537"/>
              <a:gd name="connsiteY54" fmla="*/ 1044116 h 6942972"/>
              <a:gd name="connsiteX55" fmla="*/ 2113835 w 5545537"/>
              <a:gd name="connsiteY55" fmla="*/ 522058 h 6942972"/>
              <a:gd name="connsiteX56" fmla="*/ 2635893 w 5545537"/>
              <a:gd name="connsiteY56" fmla="*/ 0 h 6942972"/>
              <a:gd name="connsiteX0" fmla="*/ 1577115 w 5545537"/>
              <a:gd name="connsiteY0" fmla="*/ 2106064 h 6863435"/>
              <a:gd name="connsiteX1" fmla="*/ 2099173 w 5545537"/>
              <a:gd name="connsiteY1" fmla="*/ 2628122 h 6863435"/>
              <a:gd name="connsiteX2" fmla="*/ 1577115 w 5545537"/>
              <a:gd name="connsiteY2" fmla="*/ 3150180 h 6863435"/>
              <a:gd name="connsiteX3" fmla="*/ 1055057 w 5545537"/>
              <a:gd name="connsiteY3" fmla="*/ 2628122 h 6863435"/>
              <a:gd name="connsiteX4" fmla="*/ 1577115 w 5545537"/>
              <a:gd name="connsiteY4" fmla="*/ 2106064 h 6863435"/>
              <a:gd name="connsiteX5" fmla="*/ 2635893 w 5545537"/>
              <a:gd name="connsiteY5" fmla="*/ 0 h 6863435"/>
              <a:gd name="connsiteX6" fmla="*/ 2649648 w 5545537"/>
              <a:gd name="connsiteY6" fmla="*/ 1387 h 6863435"/>
              <a:gd name="connsiteX7" fmla="*/ 2649648 w 5545537"/>
              <a:gd name="connsiteY7" fmla="*/ 537 h 6863435"/>
              <a:gd name="connsiteX8" fmla="*/ 2689899 w 5545537"/>
              <a:gd name="connsiteY8" fmla="*/ 537 h 6863435"/>
              <a:gd name="connsiteX9" fmla="*/ 2689899 w 5545537"/>
              <a:gd name="connsiteY9" fmla="*/ 0 h 6863435"/>
              <a:gd name="connsiteX10" fmla="*/ 3846766 w 5545537"/>
              <a:gd name="connsiteY10" fmla="*/ 0 h 6863435"/>
              <a:gd name="connsiteX11" fmla="*/ 3846766 w 5545537"/>
              <a:gd name="connsiteY11" fmla="*/ 537 h 6863435"/>
              <a:gd name="connsiteX12" fmla="*/ 5545537 w 5545537"/>
              <a:gd name="connsiteY12" fmla="*/ 537 h 6863435"/>
              <a:gd name="connsiteX13" fmla="*/ 5452809 w 5545537"/>
              <a:gd name="connsiteY13" fmla="*/ 6770393 h 6863435"/>
              <a:gd name="connsiteX14" fmla="*/ 1067337 w 5545537"/>
              <a:gd name="connsiteY14" fmla="*/ 6863300 h 6863435"/>
              <a:gd name="connsiteX15" fmla="*/ 1069719 w 5545537"/>
              <a:gd name="connsiteY15" fmla="*/ 6318334 h 6863435"/>
              <a:gd name="connsiteX16" fmla="*/ 1069720 w 5545537"/>
              <a:gd name="connsiteY16" fmla="*/ 6318321 h 6863435"/>
              <a:gd name="connsiteX17" fmla="*/ 1069719 w 5545537"/>
              <a:gd name="connsiteY17" fmla="*/ 6318310 h 6863435"/>
              <a:gd name="connsiteX18" fmla="*/ 1061010 w 5545537"/>
              <a:gd name="connsiteY18" fmla="*/ 6219603 h 6863435"/>
              <a:gd name="connsiteX19" fmla="*/ 624433 w 5545537"/>
              <a:gd name="connsiteY19" fmla="*/ 5771972 h 6863435"/>
              <a:gd name="connsiteX20" fmla="*/ 426816 w 5545537"/>
              <a:gd name="connsiteY20" fmla="*/ 5735384 h 6863435"/>
              <a:gd name="connsiteX21" fmla="*/ 9971 w 5545537"/>
              <a:gd name="connsiteY21" fmla="*/ 5223932 h 6863435"/>
              <a:gd name="connsiteX22" fmla="*/ 426816 w 5545537"/>
              <a:gd name="connsiteY22" fmla="*/ 4712481 h 6863435"/>
              <a:gd name="connsiteX23" fmla="*/ 512040 w 5545537"/>
              <a:gd name="connsiteY23" fmla="*/ 4703889 h 6863435"/>
              <a:gd name="connsiteX24" fmla="*/ 512040 w 5545537"/>
              <a:gd name="connsiteY24" fmla="*/ 4703511 h 6863435"/>
              <a:gd name="connsiteX25" fmla="*/ 423086 w 5545537"/>
              <a:gd name="connsiteY25" fmla="*/ 4694544 h 6863435"/>
              <a:gd name="connsiteX26" fmla="*/ 0 w 5545537"/>
              <a:gd name="connsiteY26" fmla="*/ 4175435 h 6863435"/>
              <a:gd name="connsiteX27" fmla="*/ 529874 w 5545537"/>
              <a:gd name="connsiteY27" fmla="*/ 3645561 h 6863435"/>
              <a:gd name="connsiteX28" fmla="*/ 1048983 w 5545537"/>
              <a:gd name="connsiteY28" fmla="*/ 4068647 h 6863435"/>
              <a:gd name="connsiteX29" fmla="*/ 1057146 w 5545537"/>
              <a:gd name="connsiteY29" fmla="*/ 4149617 h 6863435"/>
              <a:gd name="connsiteX30" fmla="*/ 1069719 w 5545537"/>
              <a:gd name="connsiteY30" fmla="*/ 4620012 h 6863435"/>
              <a:gd name="connsiteX31" fmla="*/ 1095113 w 5545537"/>
              <a:gd name="connsiteY31" fmla="*/ 4538207 h 6863435"/>
              <a:gd name="connsiteX32" fmla="*/ 1576145 w 5545537"/>
              <a:gd name="connsiteY32" fmla="*/ 4219357 h 6863435"/>
              <a:gd name="connsiteX33" fmla="*/ 1609779 w 5545537"/>
              <a:gd name="connsiteY33" fmla="*/ 4222748 h 6863435"/>
              <a:gd name="connsiteX34" fmla="*/ 1609779 w 5545537"/>
              <a:gd name="connsiteY34" fmla="*/ 4205666 h 6863435"/>
              <a:gd name="connsiteX35" fmla="*/ 1577115 w 5545537"/>
              <a:gd name="connsiteY35" fmla="*/ 4208959 h 6863435"/>
              <a:gd name="connsiteX36" fmla="*/ 1055057 w 5545537"/>
              <a:gd name="connsiteY36" fmla="*/ 3686901 h 6863435"/>
              <a:gd name="connsiteX37" fmla="*/ 1577115 w 5545537"/>
              <a:gd name="connsiteY37" fmla="*/ 3164843 h 6863435"/>
              <a:gd name="connsiteX38" fmla="*/ 2088567 w 5545537"/>
              <a:gd name="connsiteY38" fmla="*/ 3581688 h 6863435"/>
              <a:gd name="connsiteX39" fmla="*/ 2098635 w 5545537"/>
              <a:gd name="connsiteY39" fmla="*/ 3681565 h 6863435"/>
              <a:gd name="connsiteX40" fmla="*/ 2113837 w 5545537"/>
              <a:gd name="connsiteY40" fmla="*/ 3681565 h 6863435"/>
              <a:gd name="connsiteX41" fmla="*/ 2113837 w 5545537"/>
              <a:gd name="connsiteY41" fmla="*/ 2637449 h 6863435"/>
              <a:gd name="connsiteX42" fmla="*/ 2114775 w 5545537"/>
              <a:gd name="connsiteY42" fmla="*/ 2637449 h 6863435"/>
              <a:gd name="connsiteX43" fmla="*/ 2113835 w 5545537"/>
              <a:gd name="connsiteY43" fmla="*/ 2628122 h 6863435"/>
              <a:gd name="connsiteX44" fmla="*/ 2635893 w 5545537"/>
              <a:gd name="connsiteY44" fmla="*/ 2106064 h 6863435"/>
              <a:gd name="connsiteX45" fmla="*/ 2649648 w 5545537"/>
              <a:gd name="connsiteY45" fmla="*/ 2107451 h 6863435"/>
              <a:gd name="connsiteX46" fmla="*/ 2649648 w 5545537"/>
              <a:gd name="connsiteY46" fmla="*/ 2090015 h 6863435"/>
              <a:gd name="connsiteX47" fmla="*/ 2635894 w 5545537"/>
              <a:gd name="connsiteY47" fmla="*/ 2091401 h 6863435"/>
              <a:gd name="connsiteX48" fmla="*/ 2113836 w 5545537"/>
              <a:gd name="connsiteY48" fmla="*/ 1569343 h 6863435"/>
              <a:gd name="connsiteX49" fmla="*/ 2635894 w 5545537"/>
              <a:gd name="connsiteY49" fmla="*/ 1047285 h 6863435"/>
              <a:gd name="connsiteX50" fmla="*/ 2649648 w 5545537"/>
              <a:gd name="connsiteY50" fmla="*/ 1048672 h 6863435"/>
              <a:gd name="connsiteX51" fmla="*/ 2649648 w 5545537"/>
              <a:gd name="connsiteY51" fmla="*/ 1043268 h 6863435"/>
              <a:gd name="connsiteX52" fmla="*/ 2689899 w 5545537"/>
              <a:gd name="connsiteY52" fmla="*/ 1039210 h 6863435"/>
              <a:gd name="connsiteX53" fmla="*/ 2689899 w 5545537"/>
              <a:gd name="connsiteY53" fmla="*/ 1038672 h 6863435"/>
              <a:gd name="connsiteX54" fmla="*/ 2635893 w 5545537"/>
              <a:gd name="connsiteY54" fmla="*/ 1044116 h 6863435"/>
              <a:gd name="connsiteX55" fmla="*/ 2113835 w 5545537"/>
              <a:gd name="connsiteY55" fmla="*/ 522058 h 6863435"/>
              <a:gd name="connsiteX56" fmla="*/ 2635893 w 5545537"/>
              <a:gd name="connsiteY56" fmla="*/ 0 h 6863435"/>
              <a:gd name="connsiteX0" fmla="*/ 1577115 w 5546031"/>
              <a:gd name="connsiteY0" fmla="*/ 2106064 h 6864730"/>
              <a:gd name="connsiteX1" fmla="*/ 2099173 w 5546031"/>
              <a:gd name="connsiteY1" fmla="*/ 2628122 h 6864730"/>
              <a:gd name="connsiteX2" fmla="*/ 1577115 w 5546031"/>
              <a:gd name="connsiteY2" fmla="*/ 3150180 h 6864730"/>
              <a:gd name="connsiteX3" fmla="*/ 1055057 w 5546031"/>
              <a:gd name="connsiteY3" fmla="*/ 2628122 h 6864730"/>
              <a:gd name="connsiteX4" fmla="*/ 1577115 w 5546031"/>
              <a:gd name="connsiteY4" fmla="*/ 2106064 h 6864730"/>
              <a:gd name="connsiteX5" fmla="*/ 2635893 w 5546031"/>
              <a:gd name="connsiteY5" fmla="*/ 0 h 6864730"/>
              <a:gd name="connsiteX6" fmla="*/ 2649648 w 5546031"/>
              <a:gd name="connsiteY6" fmla="*/ 1387 h 6864730"/>
              <a:gd name="connsiteX7" fmla="*/ 2649648 w 5546031"/>
              <a:gd name="connsiteY7" fmla="*/ 537 h 6864730"/>
              <a:gd name="connsiteX8" fmla="*/ 2689899 w 5546031"/>
              <a:gd name="connsiteY8" fmla="*/ 537 h 6864730"/>
              <a:gd name="connsiteX9" fmla="*/ 2689899 w 5546031"/>
              <a:gd name="connsiteY9" fmla="*/ 0 h 6864730"/>
              <a:gd name="connsiteX10" fmla="*/ 3846766 w 5546031"/>
              <a:gd name="connsiteY10" fmla="*/ 0 h 6864730"/>
              <a:gd name="connsiteX11" fmla="*/ 3846766 w 5546031"/>
              <a:gd name="connsiteY11" fmla="*/ 537 h 6864730"/>
              <a:gd name="connsiteX12" fmla="*/ 5545537 w 5546031"/>
              <a:gd name="connsiteY12" fmla="*/ 537 h 6864730"/>
              <a:gd name="connsiteX13" fmla="*/ 5545536 w 5546031"/>
              <a:gd name="connsiteY13" fmla="*/ 6860545 h 6864730"/>
              <a:gd name="connsiteX14" fmla="*/ 1067337 w 5546031"/>
              <a:gd name="connsiteY14" fmla="*/ 6863300 h 6864730"/>
              <a:gd name="connsiteX15" fmla="*/ 1069719 w 5546031"/>
              <a:gd name="connsiteY15" fmla="*/ 6318334 h 6864730"/>
              <a:gd name="connsiteX16" fmla="*/ 1069720 w 5546031"/>
              <a:gd name="connsiteY16" fmla="*/ 6318321 h 6864730"/>
              <a:gd name="connsiteX17" fmla="*/ 1069719 w 5546031"/>
              <a:gd name="connsiteY17" fmla="*/ 6318310 h 6864730"/>
              <a:gd name="connsiteX18" fmla="*/ 1061010 w 5546031"/>
              <a:gd name="connsiteY18" fmla="*/ 6219603 h 6864730"/>
              <a:gd name="connsiteX19" fmla="*/ 624433 w 5546031"/>
              <a:gd name="connsiteY19" fmla="*/ 5771972 h 6864730"/>
              <a:gd name="connsiteX20" fmla="*/ 426816 w 5546031"/>
              <a:gd name="connsiteY20" fmla="*/ 5735384 h 6864730"/>
              <a:gd name="connsiteX21" fmla="*/ 9971 w 5546031"/>
              <a:gd name="connsiteY21" fmla="*/ 5223932 h 6864730"/>
              <a:gd name="connsiteX22" fmla="*/ 426816 w 5546031"/>
              <a:gd name="connsiteY22" fmla="*/ 4712481 h 6864730"/>
              <a:gd name="connsiteX23" fmla="*/ 512040 w 5546031"/>
              <a:gd name="connsiteY23" fmla="*/ 4703889 h 6864730"/>
              <a:gd name="connsiteX24" fmla="*/ 512040 w 5546031"/>
              <a:gd name="connsiteY24" fmla="*/ 4703511 h 6864730"/>
              <a:gd name="connsiteX25" fmla="*/ 423086 w 5546031"/>
              <a:gd name="connsiteY25" fmla="*/ 4694544 h 6864730"/>
              <a:gd name="connsiteX26" fmla="*/ 0 w 5546031"/>
              <a:gd name="connsiteY26" fmla="*/ 4175435 h 6864730"/>
              <a:gd name="connsiteX27" fmla="*/ 529874 w 5546031"/>
              <a:gd name="connsiteY27" fmla="*/ 3645561 h 6864730"/>
              <a:gd name="connsiteX28" fmla="*/ 1048983 w 5546031"/>
              <a:gd name="connsiteY28" fmla="*/ 4068647 h 6864730"/>
              <a:gd name="connsiteX29" fmla="*/ 1057146 w 5546031"/>
              <a:gd name="connsiteY29" fmla="*/ 4149617 h 6864730"/>
              <a:gd name="connsiteX30" fmla="*/ 1069719 w 5546031"/>
              <a:gd name="connsiteY30" fmla="*/ 4620012 h 6864730"/>
              <a:gd name="connsiteX31" fmla="*/ 1095113 w 5546031"/>
              <a:gd name="connsiteY31" fmla="*/ 4538207 h 6864730"/>
              <a:gd name="connsiteX32" fmla="*/ 1576145 w 5546031"/>
              <a:gd name="connsiteY32" fmla="*/ 4219357 h 6864730"/>
              <a:gd name="connsiteX33" fmla="*/ 1609779 w 5546031"/>
              <a:gd name="connsiteY33" fmla="*/ 4222748 h 6864730"/>
              <a:gd name="connsiteX34" fmla="*/ 1609779 w 5546031"/>
              <a:gd name="connsiteY34" fmla="*/ 4205666 h 6864730"/>
              <a:gd name="connsiteX35" fmla="*/ 1577115 w 5546031"/>
              <a:gd name="connsiteY35" fmla="*/ 4208959 h 6864730"/>
              <a:gd name="connsiteX36" fmla="*/ 1055057 w 5546031"/>
              <a:gd name="connsiteY36" fmla="*/ 3686901 h 6864730"/>
              <a:gd name="connsiteX37" fmla="*/ 1577115 w 5546031"/>
              <a:gd name="connsiteY37" fmla="*/ 3164843 h 6864730"/>
              <a:gd name="connsiteX38" fmla="*/ 2088567 w 5546031"/>
              <a:gd name="connsiteY38" fmla="*/ 3581688 h 6864730"/>
              <a:gd name="connsiteX39" fmla="*/ 2098635 w 5546031"/>
              <a:gd name="connsiteY39" fmla="*/ 3681565 h 6864730"/>
              <a:gd name="connsiteX40" fmla="*/ 2113837 w 5546031"/>
              <a:gd name="connsiteY40" fmla="*/ 3681565 h 6864730"/>
              <a:gd name="connsiteX41" fmla="*/ 2113837 w 5546031"/>
              <a:gd name="connsiteY41" fmla="*/ 2637449 h 6864730"/>
              <a:gd name="connsiteX42" fmla="*/ 2114775 w 5546031"/>
              <a:gd name="connsiteY42" fmla="*/ 2637449 h 6864730"/>
              <a:gd name="connsiteX43" fmla="*/ 2113835 w 5546031"/>
              <a:gd name="connsiteY43" fmla="*/ 2628122 h 6864730"/>
              <a:gd name="connsiteX44" fmla="*/ 2635893 w 5546031"/>
              <a:gd name="connsiteY44" fmla="*/ 2106064 h 6864730"/>
              <a:gd name="connsiteX45" fmla="*/ 2649648 w 5546031"/>
              <a:gd name="connsiteY45" fmla="*/ 2107451 h 6864730"/>
              <a:gd name="connsiteX46" fmla="*/ 2649648 w 5546031"/>
              <a:gd name="connsiteY46" fmla="*/ 2090015 h 6864730"/>
              <a:gd name="connsiteX47" fmla="*/ 2635894 w 5546031"/>
              <a:gd name="connsiteY47" fmla="*/ 2091401 h 6864730"/>
              <a:gd name="connsiteX48" fmla="*/ 2113836 w 5546031"/>
              <a:gd name="connsiteY48" fmla="*/ 1569343 h 6864730"/>
              <a:gd name="connsiteX49" fmla="*/ 2635894 w 5546031"/>
              <a:gd name="connsiteY49" fmla="*/ 1047285 h 6864730"/>
              <a:gd name="connsiteX50" fmla="*/ 2649648 w 5546031"/>
              <a:gd name="connsiteY50" fmla="*/ 1048672 h 6864730"/>
              <a:gd name="connsiteX51" fmla="*/ 2649648 w 5546031"/>
              <a:gd name="connsiteY51" fmla="*/ 1043268 h 6864730"/>
              <a:gd name="connsiteX52" fmla="*/ 2689899 w 5546031"/>
              <a:gd name="connsiteY52" fmla="*/ 1039210 h 6864730"/>
              <a:gd name="connsiteX53" fmla="*/ 2689899 w 5546031"/>
              <a:gd name="connsiteY53" fmla="*/ 1038672 h 6864730"/>
              <a:gd name="connsiteX54" fmla="*/ 2635893 w 5546031"/>
              <a:gd name="connsiteY54" fmla="*/ 1044116 h 6864730"/>
              <a:gd name="connsiteX55" fmla="*/ 2113835 w 5546031"/>
              <a:gd name="connsiteY55" fmla="*/ 522058 h 6864730"/>
              <a:gd name="connsiteX56" fmla="*/ 2635893 w 5546031"/>
              <a:gd name="connsiteY56" fmla="*/ 0 h 6864730"/>
              <a:gd name="connsiteX0" fmla="*/ 1577115 w 5546031"/>
              <a:gd name="connsiteY0" fmla="*/ 2106064 h 6864730"/>
              <a:gd name="connsiteX1" fmla="*/ 2099173 w 5546031"/>
              <a:gd name="connsiteY1" fmla="*/ 2628122 h 6864730"/>
              <a:gd name="connsiteX2" fmla="*/ 1577115 w 5546031"/>
              <a:gd name="connsiteY2" fmla="*/ 3150180 h 6864730"/>
              <a:gd name="connsiteX3" fmla="*/ 1055057 w 5546031"/>
              <a:gd name="connsiteY3" fmla="*/ 2628122 h 6864730"/>
              <a:gd name="connsiteX4" fmla="*/ 1577115 w 5546031"/>
              <a:gd name="connsiteY4" fmla="*/ 2106064 h 6864730"/>
              <a:gd name="connsiteX5" fmla="*/ 2635893 w 5546031"/>
              <a:gd name="connsiteY5" fmla="*/ 0 h 6864730"/>
              <a:gd name="connsiteX6" fmla="*/ 2649648 w 5546031"/>
              <a:gd name="connsiteY6" fmla="*/ 1387 h 6864730"/>
              <a:gd name="connsiteX7" fmla="*/ 2649648 w 5546031"/>
              <a:gd name="connsiteY7" fmla="*/ 537 h 6864730"/>
              <a:gd name="connsiteX8" fmla="*/ 2689899 w 5546031"/>
              <a:gd name="connsiteY8" fmla="*/ 537 h 6864730"/>
              <a:gd name="connsiteX9" fmla="*/ 3846766 w 5546031"/>
              <a:gd name="connsiteY9" fmla="*/ 0 h 6864730"/>
              <a:gd name="connsiteX10" fmla="*/ 3846766 w 5546031"/>
              <a:gd name="connsiteY10" fmla="*/ 537 h 6864730"/>
              <a:gd name="connsiteX11" fmla="*/ 5545537 w 5546031"/>
              <a:gd name="connsiteY11" fmla="*/ 537 h 6864730"/>
              <a:gd name="connsiteX12" fmla="*/ 5545536 w 5546031"/>
              <a:gd name="connsiteY12" fmla="*/ 6860545 h 6864730"/>
              <a:gd name="connsiteX13" fmla="*/ 1067337 w 5546031"/>
              <a:gd name="connsiteY13" fmla="*/ 6863300 h 6864730"/>
              <a:gd name="connsiteX14" fmla="*/ 1069719 w 5546031"/>
              <a:gd name="connsiteY14" fmla="*/ 6318334 h 6864730"/>
              <a:gd name="connsiteX15" fmla="*/ 1069720 w 5546031"/>
              <a:gd name="connsiteY15" fmla="*/ 6318321 h 6864730"/>
              <a:gd name="connsiteX16" fmla="*/ 1069719 w 5546031"/>
              <a:gd name="connsiteY16" fmla="*/ 6318310 h 6864730"/>
              <a:gd name="connsiteX17" fmla="*/ 1061010 w 5546031"/>
              <a:gd name="connsiteY17" fmla="*/ 6219603 h 6864730"/>
              <a:gd name="connsiteX18" fmla="*/ 624433 w 5546031"/>
              <a:gd name="connsiteY18" fmla="*/ 5771972 h 6864730"/>
              <a:gd name="connsiteX19" fmla="*/ 426816 w 5546031"/>
              <a:gd name="connsiteY19" fmla="*/ 5735384 h 6864730"/>
              <a:gd name="connsiteX20" fmla="*/ 9971 w 5546031"/>
              <a:gd name="connsiteY20" fmla="*/ 5223932 h 6864730"/>
              <a:gd name="connsiteX21" fmla="*/ 426816 w 5546031"/>
              <a:gd name="connsiteY21" fmla="*/ 4712481 h 6864730"/>
              <a:gd name="connsiteX22" fmla="*/ 512040 w 5546031"/>
              <a:gd name="connsiteY22" fmla="*/ 4703889 h 6864730"/>
              <a:gd name="connsiteX23" fmla="*/ 512040 w 5546031"/>
              <a:gd name="connsiteY23" fmla="*/ 4703511 h 6864730"/>
              <a:gd name="connsiteX24" fmla="*/ 423086 w 5546031"/>
              <a:gd name="connsiteY24" fmla="*/ 4694544 h 6864730"/>
              <a:gd name="connsiteX25" fmla="*/ 0 w 5546031"/>
              <a:gd name="connsiteY25" fmla="*/ 4175435 h 6864730"/>
              <a:gd name="connsiteX26" fmla="*/ 529874 w 5546031"/>
              <a:gd name="connsiteY26" fmla="*/ 3645561 h 6864730"/>
              <a:gd name="connsiteX27" fmla="*/ 1048983 w 5546031"/>
              <a:gd name="connsiteY27" fmla="*/ 4068647 h 6864730"/>
              <a:gd name="connsiteX28" fmla="*/ 1057146 w 5546031"/>
              <a:gd name="connsiteY28" fmla="*/ 4149617 h 6864730"/>
              <a:gd name="connsiteX29" fmla="*/ 1069719 w 5546031"/>
              <a:gd name="connsiteY29" fmla="*/ 4620012 h 6864730"/>
              <a:gd name="connsiteX30" fmla="*/ 1095113 w 5546031"/>
              <a:gd name="connsiteY30" fmla="*/ 4538207 h 6864730"/>
              <a:gd name="connsiteX31" fmla="*/ 1576145 w 5546031"/>
              <a:gd name="connsiteY31" fmla="*/ 4219357 h 6864730"/>
              <a:gd name="connsiteX32" fmla="*/ 1609779 w 5546031"/>
              <a:gd name="connsiteY32" fmla="*/ 4222748 h 6864730"/>
              <a:gd name="connsiteX33" fmla="*/ 1609779 w 5546031"/>
              <a:gd name="connsiteY33" fmla="*/ 4205666 h 6864730"/>
              <a:gd name="connsiteX34" fmla="*/ 1577115 w 5546031"/>
              <a:gd name="connsiteY34" fmla="*/ 4208959 h 6864730"/>
              <a:gd name="connsiteX35" fmla="*/ 1055057 w 5546031"/>
              <a:gd name="connsiteY35" fmla="*/ 3686901 h 6864730"/>
              <a:gd name="connsiteX36" fmla="*/ 1577115 w 5546031"/>
              <a:gd name="connsiteY36" fmla="*/ 3164843 h 6864730"/>
              <a:gd name="connsiteX37" fmla="*/ 2088567 w 5546031"/>
              <a:gd name="connsiteY37" fmla="*/ 3581688 h 6864730"/>
              <a:gd name="connsiteX38" fmla="*/ 2098635 w 5546031"/>
              <a:gd name="connsiteY38" fmla="*/ 3681565 h 6864730"/>
              <a:gd name="connsiteX39" fmla="*/ 2113837 w 5546031"/>
              <a:gd name="connsiteY39" fmla="*/ 3681565 h 6864730"/>
              <a:gd name="connsiteX40" fmla="*/ 2113837 w 5546031"/>
              <a:gd name="connsiteY40" fmla="*/ 2637449 h 6864730"/>
              <a:gd name="connsiteX41" fmla="*/ 2114775 w 5546031"/>
              <a:gd name="connsiteY41" fmla="*/ 2637449 h 6864730"/>
              <a:gd name="connsiteX42" fmla="*/ 2113835 w 5546031"/>
              <a:gd name="connsiteY42" fmla="*/ 2628122 h 6864730"/>
              <a:gd name="connsiteX43" fmla="*/ 2635893 w 5546031"/>
              <a:gd name="connsiteY43" fmla="*/ 2106064 h 6864730"/>
              <a:gd name="connsiteX44" fmla="*/ 2649648 w 5546031"/>
              <a:gd name="connsiteY44" fmla="*/ 2107451 h 6864730"/>
              <a:gd name="connsiteX45" fmla="*/ 2649648 w 5546031"/>
              <a:gd name="connsiteY45" fmla="*/ 2090015 h 6864730"/>
              <a:gd name="connsiteX46" fmla="*/ 2635894 w 5546031"/>
              <a:gd name="connsiteY46" fmla="*/ 2091401 h 6864730"/>
              <a:gd name="connsiteX47" fmla="*/ 2113836 w 5546031"/>
              <a:gd name="connsiteY47" fmla="*/ 1569343 h 6864730"/>
              <a:gd name="connsiteX48" fmla="*/ 2635894 w 5546031"/>
              <a:gd name="connsiteY48" fmla="*/ 1047285 h 6864730"/>
              <a:gd name="connsiteX49" fmla="*/ 2649648 w 5546031"/>
              <a:gd name="connsiteY49" fmla="*/ 1048672 h 6864730"/>
              <a:gd name="connsiteX50" fmla="*/ 2649648 w 5546031"/>
              <a:gd name="connsiteY50" fmla="*/ 1043268 h 6864730"/>
              <a:gd name="connsiteX51" fmla="*/ 2689899 w 5546031"/>
              <a:gd name="connsiteY51" fmla="*/ 1039210 h 6864730"/>
              <a:gd name="connsiteX52" fmla="*/ 2689899 w 5546031"/>
              <a:gd name="connsiteY52" fmla="*/ 1038672 h 6864730"/>
              <a:gd name="connsiteX53" fmla="*/ 2635893 w 5546031"/>
              <a:gd name="connsiteY53" fmla="*/ 1044116 h 6864730"/>
              <a:gd name="connsiteX54" fmla="*/ 2113835 w 5546031"/>
              <a:gd name="connsiteY54" fmla="*/ 522058 h 6864730"/>
              <a:gd name="connsiteX55" fmla="*/ 2635893 w 5546031"/>
              <a:gd name="connsiteY55" fmla="*/ 0 h 6864730"/>
              <a:gd name="connsiteX0" fmla="*/ 1577115 w 5546031"/>
              <a:gd name="connsiteY0" fmla="*/ 2106064 h 6864730"/>
              <a:gd name="connsiteX1" fmla="*/ 2099173 w 5546031"/>
              <a:gd name="connsiteY1" fmla="*/ 2628122 h 6864730"/>
              <a:gd name="connsiteX2" fmla="*/ 1577115 w 5546031"/>
              <a:gd name="connsiteY2" fmla="*/ 3150180 h 6864730"/>
              <a:gd name="connsiteX3" fmla="*/ 1055057 w 5546031"/>
              <a:gd name="connsiteY3" fmla="*/ 2628122 h 6864730"/>
              <a:gd name="connsiteX4" fmla="*/ 1577115 w 5546031"/>
              <a:gd name="connsiteY4" fmla="*/ 2106064 h 6864730"/>
              <a:gd name="connsiteX5" fmla="*/ 2635893 w 5546031"/>
              <a:gd name="connsiteY5" fmla="*/ 0 h 6864730"/>
              <a:gd name="connsiteX6" fmla="*/ 2649648 w 5546031"/>
              <a:gd name="connsiteY6" fmla="*/ 1387 h 6864730"/>
              <a:gd name="connsiteX7" fmla="*/ 2649648 w 5546031"/>
              <a:gd name="connsiteY7" fmla="*/ 537 h 6864730"/>
              <a:gd name="connsiteX8" fmla="*/ 3846766 w 5546031"/>
              <a:gd name="connsiteY8" fmla="*/ 0 h 6864730"/>
              <a:gd name="connsiteX9" fmla="*/ 3846766 w 5546031"/>
              <a:gd name="connsiteY9" fmla="*/ 537 h 6864730"/>
              <a:gd name="connsiteX10" fmla="*/ 5545537 w 5546031"/>
              <a:gd name="connsiteY10" fmla="*/ 537 h 6864730"/>
              <a:gd name="connsiteX11" fmla="*/ 5545536 w 5546031"/>
              <a:gd name="connsiteY11" fmla="*/ 6860545 h 6864730"/>
              <a:gd name="connsiteX12" fmla="*/ 1067337 w 5546031"/>
              <a:gd name="connsiteY12" fmla="*/ 6863300 h 6864730"/>
              <a:gd name="connsiteX13" fmla="*/ 1069719 w 5546031"/>
              <a:gd name="connsiteY13" fmla="*/ 6318334 h 6864730"/>
              <a:gd name="connsiteX14" fmla="*/ 1069720 w 5546031"/>
              <a:gd name="connsiteY14" fmla="*/ 6318321 h 6864730"/>
              <a:gd name="connsiteX15" fmla="*/ 1069719 w 5546031"/>
              <a:gd name="connsiteY15" fmla="*/ 6318310 h 6864730"/>
              <a:gd name="connsiteX16" fmla="*/ 1061010 w 5546031"/>
              <a:gd name="connsiteY16" fmla="*/ 6219603 h 6864730"/>
              <a:gd name="connsiteX17" fmla="*/ 624433 w 5546031"/>
              <a:gd name="connsiteY17" fmla="*/ 5771972 h 6864730"/>
              <a:gd name="connsiteX18" fmla="*/ 426816 w 5546031"/>
              <a:gd name="connsiteY18" fmla="*/ 5735384 h 6864730"/>
              <a:gd name="connsiteX19" fmla="*/ 9971 w 5546031"/>
              <a:gd name="connsiteY19" fmla="*/ 5223932 h 6864730"/>
              <a:gd name="connsiteX20" fmla="*/ 426816 w 5546031"/>
              <a:gd name="connsiteY20" fmla="*/ 4712481 h 6864730"/>
              <a:gd name="connsiteX21" fmla="*/ 512040 w 5546031"/>
              <a:gd name="connsiteY21" fmla="*/ 4703889 h 6864730"/>
              <a:gd name="connsiteX22" fmla="*/ 512040 w 5546031"/>
              <a:gd name="connsiteY22" fmla="*/ 4703511 h 6864730"/>
              <a:gd name="connsiteX23" fmla="*/ 423086 w 5546031"/>
              <a:gd name="connsiteY23" fmla="*/ 4694544 h 6864730"/>
              <a:gd name="connsiteX24" fmla="*/ 0 w 5546031"/>
              <a:gd name="connsiteY24" fmla="*/ 4175435 h 6864730"/>
              <a:gd name="connsiteX25" fmla="*/ 529874 w 5546031"/>
              <a:gd name="connsiteY25" fmla="*/ 3645561 h 6864730"/>
              <a:gd name="connsiteX26" fmla="*/ 1048983 w 5546031"/>
              <a:gd name="connsiteY26" fmla="*/ 4068647 h 6864730"/>
              <a:gd name="connsiteX27" fmla="*/ 1057146 w 5546031"/>
              <a:gd name="connsiteY27" fmla="*/ 4149617 h 6864730"/>
              <a:gd name="connsiteX28" fmla="*/ 1069719 w 5546031"/>
              <a:gd name="connsiteY28" fmla="*/ 4620012 h 6864730"/>
              <a:gd name="connsiteX29" fmla="*/ 1095113 w 5546031"/>
              <a:gd name="connsiteY29" fmla="*/ 4538207 h 6864730"/>
              <a:gd name="connsiteX30" fmla="*/ 1576145 w 5546031"/>
              <a:gd name="connsiteY30" fmla="*/ 4219357 h 6864730"/>
              <a:gd name="connsiteX31" fmla="*/ 1609779 w 5546031"/>
              <a:gd name="connsiteY31" fmla="*/ 4222748 h 6864730"/>
              <a:gd name="connsiteX32" fmla="*/ 1609779 w 5546031"/>
              <a:gd name="connsiteY32" fmla="*/ 4205666 h 6864730"/>
              <a:gd name="connsiteX33" fmla="*/ 1577115 w 5546031"/>
              <a:gd name="connsiteY33" fmla="*/ 4208959 h 6864730"/>
              <a:gd name="connsiteX34" fmla="*/ 1055057 w 5546031"/>
              <a:gd name="connsiteY34" fmla="*/ 3686901 h 6864730"/>
              <a:gd name="connsiteX35" fmla="*/ 1577115 w 5546031"/>
              <a:gd name="connsiteY35" fmla="*/ 3164843 h 6864730"/>
              <a:gd name="connsiteX36" fmla="*/ 2088567 w 5546031"/>
              <a:gd name="connsiteY36" fmla="*/ 3581688 h 6864730"/>
              <a:gd name="connsiteX37" fmla="*/ 2098635 w 5546031"/>
              <a:gd name="connsiteY37" fmla="*/ 3681565 h 6864730"/>
              <a:gd name="connsiteX38" fmla="*/ 2113837 w 5546031"/>
              <a:gd name="connsiteY38" fmla="*/ 3681565 h 6864730"/>
              <a:gd name="connsiteX39" fmla="*/ 2113837 w 5546031"/>
              <a:gd name="connsiteY39" fmla="*/ 2637449 h 6864730"/>
              <a:gd name="connsiteX40" fmla="*/ 2114775 w 5546031"/>
              <a:gd name="connsiteY40" fmla="*/ 2637449 h 6864730"/>
              <a:gd name="connsiteX41" fmla="*/ 2113835 w 5546031"/>
              <a:gd name="connsiteY41" fmla="*/ 2628122 h 6864730"/>
              <a:gd name="connsiteX42" fmla="*/ 2635893 w 5546031"/>
              <a:gd name="connsiteY42" fmla="*/ 2106064 h 6864730"/>
              <a:gd name="connsiteX43" fmla="*/ 2649648 w 5546031"/>
              <a:gd name="connsiteY43" fmla="*/ 2107451 h 6864730"/>
              <a:gd name="connsiteX44" fmla="*/ 2649648 w 5546031"/>
              <a:gd name="connsiteY44" fmla="*/ 2090015 h 6864730"/>
              <a:gd name="connsiteX45" fmla="*/ 2635894 w 5546031"/>
              <a:gd name="connsiteY45" fmla="*/ 2091401 h 6864730"/>
              <a:gd name="connsiteX46" fmla="*/ 2113836 w 5546031"/>
              <a:gd name="connsiteY46" fmla="*/ 1569343 h 6864730"/>
              <a:gd name="connsiteX47" fmla="*/ 2635894 w 5546031"/>
              <a:gd name="connsiteY47" fmla="*/ 1047285 h 6864730"/>
              <a:gd name="connsiteX48" fmla="*/ 2649648 w 5546031"/>
              <a:gd name="connsiteY48" fmla="*/ 1048672 h 6864730"/>
              <a:gd name="connsiteX49" fmla="*/ 2649648 w 5546031"/>
              <a:gd name="connsiteY49" fmla="*/ 1043268 h 6864730"/>
              <a:gd name="connsiteX50" fmla="*/ 2689899 w 5546031"/>
              <a:gd name="connsiteY50" fmla="*/ 1039210 h 6864730"/>
              <a:gd name="connsiteX51" fmla="*/ 2689899 w 5546031"/>
              <a:gd name="connsiteY51" fmla="*/ 1038672 h 6864730"/>
              <a:gd name="connsiteX52" fmla="*/ 2635893 w 5546031"/>
              <a:gd name="connsiteY52" fmla="*/ 1044116 h 6864730"/>
              <a:gd name="connsiteX53" fmla="*/ 2113835 w 5546031"/>
              <a:gd name="connsiteY53" fmla="*/ 522058 h 6864730"/>
              <a:gd name="connsiteX54" fmla="*/ 2635893 w 5546031"/>
              <a:gd name="connsiteY54" fmla="*/ 0 h 6864730"/>
              <a:gd name="connsiteX0" fmla="*/ 1577115 w 5546031"/>
              <a:gd name="connsiteY0" fmla="*/ 2106064 h 6864730"/>
              <a:gd name="connsiteX1" fmla="*/ 2099173 w 5546031"/>
              <a:gd name="connsiteY1" fmla="*/ 2628122 h 6864730"/>
              <a:gd name="connsiteX2" fmla="*/ 1577115 w 5546031"/>
              <a:gd name="connsiteY2" fmla="*/ 3150180 h 6864730"/>
              <a:gd name="connsiteX3" fmla="*/ 1055057 w 5546031"/>
              <a:gd name="connsiteY3" fmla="*/ 2628122 h 6864730"/>
              <a:gd name="connsiteX4" fmla="*/ 1577115 w 5546031"/>
              <a:gd name="connsiteY4" fmla="*/ 2106064 h 6864730"/>
              <a:gd name="connsiteX5" fmla="*/ 2635893 w 5546031"/>
              <a:gd name="connsiteY5" fmla="*/ 0 h 6864730"/>
              <a:gd name="connsiteX6" fmla="*/ 2649648 w 5546031"/>
              <a:gd name="connsiteY6" fmla="*/ 1387 h 6864730"/>
              <a:gd name="connsiteX7" fmla="*/ 2649648 w 5546031"/>
              <a:gd name="connsiteY7" fmla="*/ 537 h 6864730"/>
              <a:gd name="connsiteX8" fmla="*/ 3846766 w 5546031"/>
              <a:gd name="connsiteY8" fmla="*/ 0 h 6864730"/>
              <a:gd name="connsiteX9" fmla="*/ 3846766 w 5546031"/>
              <a:gd name="connsiteY9" fmla="*/ 537 h 6864730"/>
              <a:gd name="connsiteX10" fmla="*/ 5545537 w 5546031"/>
              <a:gd name="connsiteY10" fmla="*/ 537 h 6864730"/>
              <a:gd name="connsiteX11" fmla="*/ 5545536 w 5546031"/>
              <a:gd name="connsiteY11" fmla="*/ 6860545 h 6864730"/>
              <a:gd name="connsiteX12" fmla="*/ 1067337 w 5546031"/>
              <a:gd name="connsiteY12" fmla="*/ 6863300 h 6864730"/>
              <a:gd name="connsiteX13" fmla="*/ 1069719 w 5546031"/>
              <a:gd name="connsiteY13" fmla="*/ 6318334 h 6864730"/>
              <a:gd name="connsiteX14" fmla="*/ 1069720 w 5546031"/>
              <a:gd name="connsiteY14" fmla="*/ 6318321 h 6864730"/>
              <a:gd name="connsiteX15" fmla="*/ 1069719 w 5546031"/>
              <a:gd name="connsiteY15" fmla="*/ 6318310 h 6864730"/>
              <a:gd name="connsiteX16" fmla="*/ 1061010 w 5546031"/>
              <a:gd name="connsiteY16" fmla="*/ 6219603 h 6864730"/>
              <a:gd name="connsiteX17" fmla="*/ 624433 w 5546031"/>
              <a:gd name="connsiteY17" fmla="*/ 5771972 h 6864730"/>
              <a:gd name="connsiteX18" fmla="*/ 426816 w 5546031"/>
              <a:gd name="connsiteY18" fmla="*/ 5735384 h 6864730"/>
              <a:gd name="connsiteX19" fmla="*/ 9971 w 5546031"/>
              <a:gd name="connsiteY19" fmla="*/ 5223932 h 6864730"/>
              <a:gd name="connsiteX20" fmla="*/ 426816 w 5546031"/>
              <a:gd name="connsiteY20" fmla="*/ 4712481 h 6864730"/>
              <a:gd name="connsiteX21" fmla="*/ 512040 w 5546031"/>
              <a:gd name="connsiteY21" fmla="*/ 4703889 h 6864730"/>
              <a:gd name="connsiteX22" fmla="*/ 512040 w 5546031"/>
              <a:gd name="connsiteY22" fmla="*/ 4703511 h 6864730"/>
              <a:gd name="connsiteX23" fmla="*/ 423086 w 5546031"/>
              <a:gd name="connsiteY23" fmla="*/ 4694544 h 6864730"/>
              <a:gd name="connsiteX24" fmla="*/ 0 w 5546031"/>
              <a:gd name="connsiteY24" fmla="*/ 4175435 h 6864730"/>
              <a:gd name="connsiteX25" fmla="*/ 529874 w 5546031"/>
              <a:gd name="connsiteY25" fmla="*/ 3645561 h 6864730"/>
              <a:gd name="connsiteX26" fmla="*/ 1048983 w 5546031"/>
              <a:gd name="connsiteY26" fmla="*/ 4068647 h 6864730"/>
              <a:gd name="connsiteX27" fmla="*/ 1057146 w 5546031"/>
              <a:gd name="connsiteY27" fmla="*/ 4149617 h 6864730"/>
              <a:gd name="connsiteX28" fmla="*/ 1069719 w 5546031"/>
              <a:gd name="connsiteY28" fmla="*/ 4620012 h 6864730"/>
              <a:gd name="connsiteX29" fmla="*/ 1095113 w 5546031"/>
              <a:gd name="connsiteY29" fmla="*/ 4538207 h 6864730"/>
              <a:gd name="connsiteX30" fmla="*/ 1576145 w 5546031"/>
              <a:gd name="connsiteY30" fmla="*/ 4219357 h 6864730"/>
              <a:gd name="connsiteX31" fmla="*/ 1609779 w 5546031"/>
              <a:gd name="connsiteY31" fmla="*/ 4222748 h 6864730"/>
              <a:gd name="connsiteX32" fmla="*/ 1609779 w 5546031"/>
              <a:gd name="connsiteY32" fmla="*/ 4205666 h 6864730"/>
              <a:gd name="connsiteX33" fmla="*/ 1577115 w 5546031"/>
              <a:gd name="connsiteY33" fmla="*/ 4208959 h 6864730"/>
              <a:gd name="connsiteX34" fmla="*/ 1055057 w 5546031"/>
              <a:gd name="connsiteY34" fmla="*/ 3686901 h 6864730"/>
              <a:gd name="connsiteX35" fmla="*/ 1577115 w 5546031"/>
              <a:gd name="connsiteY35" fmla="*/ 3164843 h 6864730"/>
              <a:gd name="connsiteX36" fmla="*/ 2088567 w 5546031"/>
              <a:gd name="connsiteY36" fmla="*/ 3581688 h 6864730"/>
              <a:gd name="connsiteX37" fmla="*/ 2098635 w 5546031"/>
              <a:gd name="connsiteY37" fmla="*/ 3681565 h 6864730"/>
              <a:gd name="connsiteX38" fmla="*/ 2113837 w 5546031"/>
              <a:gd name="connsiteY38" fmla="*/ 3681565 h 6864730"/>
              <a:gd name="connsiteX39" fmla="*/ 2113837 w 5546031"/>
              <a:gd name="connsiteY39" fmla="*/ 2637449 h 6864730"/>
              <a:gd name="connsiteX40" fmla="*/ 2114775 w 5546031"/>
              <a:gd name="connsiteY40" fmla="*/ 2637449 h 6864730"/>
              <a:gd name="connsiteX41" fmla="*/ 2113835 w 5546031"/>
              <a:gd name="connsiteY41" fmla="*/ 2628122 h 6864730"/>
              <a:gd name="connsiteX42" fmla="*/ 2635893 w 5546031"/>
              <a:gd name="connsiteY42" fmla="*/ 2106064 h 6864730"/>
              <a:gd name="connsiteX43" fmla="*/ 2649648 w 5546031"/>
              <a:gd name="connsiteY43" fmla="*/ 2107451 h 6864730"/>
              <a:gd name="connsiteX44" fmla="*/ 2649648 w 5546031"/>
              <a:gd name="connsiteY44" fmla="*/ 2090015 h 6864730"/>
              <a:gd name="connsiteX45" fmla="*/ 2635894 w 5546031"/>
              <a:gd name="connsiteY45" fmla="*/ 2091401 h 6864730"/>
              <a:gd name="connsiteX46" fmla="*/ 2113836 w 5546031"/>
              <a:gd name="connsiteY46" fmla="*/ 1569343 h 6864730"/>
              <a:gd name="connsiteX47" fmla="*/ 2635894 w 5546031"/>
              <a:gd name="connsiteY47" fmla="*/ 1047285 h 6864730"/>
              <a:gd name="connsiteX48" fmla="*/ 2649648 w 5546031"/>
              <a:gd name="connsiteY48" fmla="*/ 1048672 h 6864730"/>
              <a:gd name="connsiteX49" fmla="*/ 2649648 w 5546031"/>
              <a:gd name="connsiteY49" fmla="*/ 1043268 h 6864730"/>
              <a:gd name="connsiteX50" fmla="*/ 2689899 w 5546031"/>
              <a:gd name="connsiteY50" fmla="*/ 1039210 h 6864730"/>
              <a:gd name="connsiteX51" fmla="*/ 2635893 w 5546031"/>
              <a:gd name="connsiteY51" fmla="*/ 1044116 h 6864730"/>
              <a:gd name="connsiteX52" fmla="*/ 2113835 w 5546031"/>
              <a:gd name="connsiteY52" fmla="*/ 522058 h 6864730"/>
              <a:gd name="connsiteX53" fmla="*/ 2635893 w 5546031"/>
              <a:gd name="connsiteY53" fmla="*/ 0 h 6864730"/>
              <a:gd name="connsiteX0" fmla="*/ 1577115 w 5546031"/>
              <a:gd name="connsiteY0" fmla="*/ 2106064 h 6864730"/>
              <a:gd name="connsiteX1" fmla="*/ 2099173 w 5546031"/>
              <a:gd name="connsiteY1" fmla="*/ 2628122 h 6864730"/>
              <a:gd name="connsiteX2" fmla="*/ 1577115 w 5546031"/>
              <a:gd name="connsiteY2" fmla="*/ 3150180 h 6864730"/>
              <a:gd name="connsiteX3" fmla="*/ 1055057 w 5546031"/>
              <a:gd name="connsiteY3" fmla="*/ 2628122 h 6864730"/>
              <a:gd name="connsiteX4" fmla="*/ 1577115 w 5546031"/>
              <a:gd name="connsiteY4" fmla="*/ 2106064 h 6864730"/>
              <a:gd name="connsiteX5" fmla="*/ 2635893 w 5546031"/>
              <a:gd name="connsiteY5" fmla="*/ 0 h 6864730"/>
              <a:gd name="connsiteX6" fmla="*/ 2649648 w 5546031"/>
              <a:gd name="connsiteY6" fmla="*/ 1387 h 6864730"/>
              <a:gd name="connsiteX7" fmla="*/ 2649648 w 5546031"/>
              <a:gd name="connsiteY7" fmla="*/ 537 h 6864730"/>
              <a:gd name="connsiteX8" fmla="*/ 3846766 w 5546031"/>
              <a:gd name="connsiteY8" fmla="*/ 0 h 6864730"/>
              <a:gd name="connsiteX9" fmla="*/ 3846766 w 5546031"/>
              <a:gd name="connsiteY9" fmla="*/ 537 h 6864730"/>
              <a:gd name="connsiteX10" fmla="*/ 5545537 w 5546031"/>
              <a:gd name="connsiteY10" fmla="*/ 537 h 6864730"/>
              <a:gd name="connsiteX11" fmla="*/ 5545536 w 5546031"/>
              <a:gd name="connsiteY11" fmla="*/ 6860545 h 6864730"/>
              <a:gd name="connsiteX12" fmla="*/ 1067337 w 5546031"/>
              <a:gd name="connsiteY12" fmla="*/ 6863300 h 6864730"/>
              <a:gd name="connsiteX13" fmla="*/ 1069719 w 5546031"/>
              <a:gd name="connsiteY13" fmla="*/ 6318334 h 6864730"/>
              <a:gd name="connsiteX14" fmla="*/ 1069720 w 5546031"/>
              <a:gd name="connsiteY14" fmla="*/ 6318321 h 6864730"/>
              <a:gd name="connsiteX15" fmla="*/ 1069719 w 5546031"/>
              <a:gd name="connsiteY15" fmla="*/ 6318310 h 6864730"/>
              <a:gd name="connsiteX16" fmla="*/ 1061010 w 5546031"/>
              <a:gd name="connsiteY16" fmla="*/ 6219603 h 6864730"/>
              <a:gd name="connsiteX17" fmla="*/ 624433 w 5546031"/>
              <a:gd name="connsiteY17" fmla="*/ 5771972 h 6864730"/>
              <a:gd name="connsiteX18" fmla="*/ 426816 w 5546031"/>
              <a:gd name="connsiteY18" fmla="*/ 5735384 h 6864730"/>
              <a:gd name="connsiteX19" fmla="*/ 9971 w 5546031"/>
              <a:gd name="connsiteY19" fmla="*/ 5223932 h 6864730"/>
              <a:gd name="connsiteX20" fmla="*/ 426816 w 5546031"/>
              <a:gd name="connsiteY20" fmla="*/ 4712481 h 6864730"/>
              <a:gd name="connsiteX21" fmla="*/ 512040 w 5546031"/>
              <a:gd name="connsiteY21" fmla="*/ 4703889 h 6864730"/>
              <a:gd name="connsiteX22" fmla="*/ 512040 w 5546031"/>
              <a:gd name="connsiteY22" fmla="*/ 4703511 h 6864730"/>
              <a:gd name="connsiteX23" fmla="*/ 423086 w 5546031"/>
              <a:gd name="connsiteY23" fmla="*/ 4694544 h 6864730"/>
              <a:gd name="connsiteX24" fmla="*/ 0 w 5546031"/>
              <a:gd name="connsiteY24" fmla="*/ 4175435 h 6864730"/>
              <a:gd name="connsiteX25" fmla="*/ 529874 w 5546031"/>
              <a:gd name="connsiteY25" fmla="*/ 3645561 h 6864730"/>
              <a:gd name="connsiteX26" fmla="*/ 1048983 w 5546031"/>
              <a:gd name="connsiteY26" fmla="*/ 4068647 h 6864730"/>
              <a:gd name="connsiteX27" fmla="*/ 1057146 w 5546031"/>
              <a:gd name="connsiteY27" fmla="*/ 4149617 h 6864730"/>
              <a:gd name="connsiteX28" fmla="*/ 1069719 w 5546031"/>
              <a:gd name="connsiteY28" fmla="*/ 4620012 h 6864730"/>
              <a:gd name="connsiteX29" fmla="*/ 1095113 w 5546031"/>
              <a:gd name="connsiteY29" fmla="*/ 4538207 h 6864730"/>
              <a:gd name="connsiteX30" fmla="*/ 1576145 w 5546031"/>
              <a:gd name="connsiteY30" fmla="*/ 4219357 h 6864730"/>
              <a:gd name="connsiteX31" fmla="*/ 1609779 w 5546031"/>
              <a:gd name="connsiteY31" fmla="*/ 4222748 h 6864730"/>
              <a:gd name="connsiteX32" fmla="*/ 1609779 w 5546031"/>
              <a:gd name="connsiteY32" fmla="*/ 4205666 h 6864730"/>
              <a:gd name="connsiteX33" fmla="*/ 1577115 w 5546031"/>
              <a:gd name="connsiteY33" fmla="*/ 4208959 h 6864730"/>
              <a:gd name="connsiteX34" fmla="*/ 1055057 w 5546031"/>
              <a:gd name="connsiteY34" fmla="*/ 3686901 h 6864730"/>
              <a:gd name="connsiteX35" fmla="*/ 1577115 w 5546031"/>
              <a:gd name="connsiteY35" fmla="*/ 3164843 h 6864730"/>
              <a:gd name="connsiteX36" fmla="*/ 2088567 w 5546031"/>
              <a:gd name="connsiteY36" fmla="*/ 3581688 h 6864730"/>
              <a:gd name="connsiteX37" fmla="*/ 2098635 w 5546031"/>
              <a:gd name="connsiteY37" fmla="*/ 3681565 h 6864730"/>
              <a:gd name="connsiteX38" fmla="*/ 2113837 w 5546031"/>
              <a:gd name="connsiteY38" fmla="*/ 3681565 h 6864730"/>
              <a:gd name="connsiteX39" fmla="*/ 2113837 w 5546031"/>
              <a:gd name="connsiteY39" fmla="*/ 2637449 h 6864730"/>
              <a:gd name="connsiteX40" fmla="*/ 2114775 w 5546031"/>
              <a:gd name="connsiteY40" fmla="*/ 2637449 h 6864730"/>
              <a:gd name="connsiteX41" fmla="*/ 2113835 w 5546031"/>
              <a:gd name="connsiteY41" fmla="*/ 2628122 h 6864730"/>
              <a:gd name="connsiteX42" fmla="*/ 2635893 w 5546031"/>
              <a:gd name="connsiteY42" fmla="*/ 2106064 h 6864730"/>
              <a:gd name="connsiteX43" fmla="*/ 2649648 w 5546031"/>
              <a:gd name="connsiteY43" fmla="*/ 2107451 h 6864730"/>
              <a:gd name="connsiteX44" fmla="*/ 2649648 w 5546031"/>
              <a:gd name="connsiteY44" fmla="*/ 2090015 h 6864730"/>
              <a:gd name="connsiteX45" fmla="*/ 2635894 w 5546031"/>
              <a:gd name="connsiteY45" fmla="*/ 2091401 h 6864730"/>
              <a:gd name="connsiteX46" fmla="*/ 2113836 w 5546031"/>
              <a:gd name="connsiteY46" fmla="*/ 1569343 h 6864730"/>
              <a:gd name="connsiteX47" fmla="*/ 2635894 w 5546031"/>
              <a:gd name="connsiteY47" fmla="*/ 1047285 h 6864730"/>
              <a:gd name="connsiteX48" fmla="*/ 2649648 w 5546031"/>
              <a:gd name="connsiteY48" fmla="*/ 1048672 h 6864730"/>
              <a:gd name="connsiteX49" fmla="*/ 2649648 w 5546031"/>
              <a:gd name="connsiteY49" fmla="*/ 1043268 h 6864730"/>
              <a:gd name="connsiteX50" fmla="*/ 2635893 w 5546031"/>
              <a:gd name="connsiteY50" fmla="*/ 1044116 h 6864730"/>
              <a:gd name="connsiteX51" fmla="*/ 2113835 w 5546031"/>
              <a:gd name="connsiteY51" fmla="*/ 522058 h 6864730"/>
              <a:gd name="connsiteX52" fmla="*/ 2635893 w 5546031"/>
              <a:gd name="connsiteY52" fmla="*/ 0 h 6864730"/>
              <a:gd name="connsiteX0" fmla="*/ 1577115 w 5546031"/>
              <a:gd name="connsiteY0" fmla="*/ 2106064 h 6864730"/>
              <a:gd name="connsiteX1" fmla="*/ 2099173 w 5546031"/>
              <a:gd name="connsiteY1" fmla="*/ 2628122 h 6864730"/>
              <a:gd name="connsiteX2" fmla="*/ 1577115 w 5546031"/>
              <a:gd name="connsiteY2" fmla="*/ 3150180 h 6864730"/>
              <a:gd name="connsiteX3" fmla="*/ 1055057 w 5546031"/>
              <a:gd name="connsiteY3" fmla="*/ 2628122 h 6864730"/>
              <a:gd name="connsiteX4" fmla="*/ 1577115 w 5546031"/>
              <a:gd name="connsiteY4" fmla="*/ 2106064 h 6864730"/>
              <a:gd name="connsiteX5" fmla="*/ 2635893 w 5546031"/>
              <a:gd name="connsiteY5" fmla="*/ 0 h 6864730"/>
              <a:gd name="connsiteX6" fmla="*/ 2649648 w 5546031"/>
              <a:gd name="connsiteY6" fmla="*/ 1387 h 6864730"/>
              <a:gd name="connsiteX7" fmla="*/ 2649648 w 5546031"/>
              <a:gd name="connsiteY7" fmla="*/ 537 h 6864730"/>
              <a:gd name="connsiteX8" fmla="*/ 3846766 w 5546031"/>
              <a:gd name="connsiteY8" fmla="*/ 0 h 6864730"/>
              <a:gd name="connsiteX9" fmla="*/ 5545537 w 5546031"/>
              <a:gd name="connsiteY9" fmla="*/ 537 h 6864730"/>
              <a:gd name="connsiteX10" fmla="*/ 5545536 w 5546031"/>
              <a:gd name="connsiteY10" fmla="*/ 6860545 h 6864730"/>
              <a:gd name="connsiteX11" fmla="*/ 1067337 w 5546031"/>
              <a:gd name="connsiteY11" fmla="*/ 6863300 h 6864730"/>
              <a:gd name="connsiteX12" fmla="*/ 1069719 w 5546031"/>
              <a:gd name="connsiteY12" fmla="*/ 6318334 h 6864730"/>
              <a:gd name="connsiteX13" fmla="*/ 1069720 w 5546031"/>
              <a:gd name="connsiteY13" fmla="*/ 6318321 h 6864730"/>
              <a:gd name="connsiteX14" fmla="*/ 1069719 w 5546031"/>
              <a:gd name="connsiteY14" fmla="*/ 6318310 h 6864730"/>
              <a:gd name="connsiteX15" fmla="*/ 1061010 w 5546031"/>
              <a:gd name="connsiteY15" fmla="*/ 6219603 h 6864730"/>
              <a:gd name="connsiteX16" fmla="*/ 624433 w 5546031"/>
              <a:gd name="connsiteY16" fmla="*/ 5771972 h 6864730"/>
              <a:gd name="connsiteX17" fmla="*/ 426816 w 5546031"/>
              <a:gd name="connsiteY17" fmla="*/ 5735384 h 6864730"/>
              <a:gd name="connsiteX18" fmla="*/ 9971 w 5546031"/>
              <a:gd name="connsiteY18" fmla="*/ 5223932 h 6864730"/>
              <a:gd name="connsiteX19" fmla="*/ 426816 w 5546031"/>
              <a:gd name="connsiteY19" fmla="*/ 4712481 h 6864730"/>
              <a:gd name="connsiteX20" fmla="*/ 512040 w 5546031"/>
              <a:gd name="connsiteY20" fmla="*/ 4703889 h 6864730"/>
              <a:gd name="connsiteX21" fmla="*/ 512040 w 5546031"/>
              <a:gd name="connsiteY21" fmla="*/ 4703511 h 6864730"/>
              <a:gd name="connsiteX22" fmla="*/ 423086 w 5546031"/>
              <a:gd name="connsiteY22" fmla="*/ 4694544 h 6864730"/>
              <a:gd name="connsiteX23" fmla="*/ 0 w 5546031"/>
              <a:gd name="connsiteY23" fmla="*/ 4175435 h 6864730"/>
              <a:gd name="connsiteX24" fmla="*/ 529874 w 5546031"/>
              <a:gd name="connsiteY24" fmla="*/ 3645561 h 6864730"/>
              <a:gd name="connsiteX25" fmla="*/ 1048983 w 5546031"/>
              <a:gd name="connsiteY25" fmla="*/ 4068647 h 6864730"/>
              <a:gd name="connsiteX26" fmla="*/ 1057146 w 5546031"/>
              <a:gd name="connsiteY26" fmla="*/ 4149617 h 6864730"/>
              <a:gd name="connsiteX27" fmla="*/ 1069719 w 5546031"/>
              <a:gd name="connsiteY27" fmla="*/ 4620012 h 6864730"/>
              <a:gd name="connsiteX28" fmla="*/ 1095113 w 5546031"/>
              <a:gd name="connsiteY28" fmla="*/ 4538207 h 6864730"/>
              <a:gd name="connsiteX29" fmla="*/ 1576145 w 5546031"/>
              <a:gd name="connsiteY29" fmla="*/ 4219357 h 6864730"/>
              <a:gd name="connsiteX30" fmla="*/ 1609779 w 5546031"/>
              <a:gd name="connsiteY30" fmla="*/ 4222748 h 6864730"/>
              <a:gd name="connsiteX31" fmla="*/ 1609779 w 5546031"/>
              <a:gd name="connsiteY31" fmla="*/ 4205666 h 6864730"/>
              <a:gd name="connsiteX32" fmla="*/ 1577115 w 5546031"/>
              <a:gd name="connsiteY32" fmla="*/ 4208959 h 6864730"/>
              <a:gd name="connsiteX33" fmla="*/ 1055057 w 5546031"/>
              <a:gd name="connsiteY33" fmla="*/ 3686901 h 6864730"/>
              <a:gd name="connsiteX34" fmla="*/ 1577115 w 5546031"/>
              <a:gd name="connsiteY34" fmla="*/ 3164843 h 6864730"/>
              <a:gd name="connsiteX35" fmla="*/ 2088567 w 5546031"/>
              <a:gd name="connsiteY35" fmla="*/ 3581688 h 6864730"/>
              <a:gd name="connsiteX36" fmla="*/ 2098635 w 5546031"/>
              <a:gd name="connsiteY36" fmla="*/ 3681565 h 6864730"/>
              <a:gd name="connsiteX37" fmla="*/ 2113837 w 5546031"/>
              <a:gd name="connsiteY37" fmla="*/ 3681565 h 6864730"/>
              <a:gd name="connsiteX38" fmla="*/ 2113837 w 5546031"/>
              <a:gd name="connsiteY38" fmla="*/ 2637449 h 6864730"/>
              <a:gd name="connsiteX39" fmla="*/ 2114775 w 5546031"/>
              <a:gd name="connsiteY39" fmla="*/ 2637449 h 6864730"/>
              <a:gd name="connsiteX40" fmla="*/ 2113835 w 5546031"/>
              <a:gd name="connsiteY40" fmla="*/ 2628122 h 6864730"/>
              <a:gd name="connsiteX41" fmla="*/ 2635893 w 5546031"/>
              <a:gd name="connsiteY41" fmla="*/ 2106064 h 6864730"/>
              <a:gd name="connsiteX42" fmla="*/ 2649648 w 5546031"/>
              <a:gd name="connsiteY42" fmla="*/ 2107451 h 6864730"/>
              <a:gd name="connsiteX43" fmla="*/ 2649648 w 5546031"/>
              <a:gd name="connsiteY43" fmla="*/ 2090015 h 6864730"/>
              <a:gd name="connsiteX44" fmla="*/ 2635894 w 5546031"/>
              <a:gd name="connsiteY44" fmla="*/ 2091401 h 6864730"/>
              <a:gd name="connsiteX45" fmla="*/ 2113836 w 5546031"/>
              <a:gd name="connsiteY45" fmla="*/ 1569343 h 6864730"/>
              <a:gd name="connsiteX46" fmla="*/ 2635894 w 5546031"/>
              <a:gd name="connsiteY46" fmla="*/ 1047285 h 6864730"/>
              <a:gd name="connsiteX47" fmla="*/ 2649648 w 5546031"/>
              <a:gd name="connsiteY47" fmla="*/ 1048672 h 6864730"/>
              <a:gd name="connsiteX48" fmla="*/ 2649648 w 5546031"/>
              <a:gd name="connsiteY48" fmla="*/ 1043268 h 6864730"/>
              <a:gd name="connsiteX49" fmla="*/ 2635893 w 5546031"/>
              <a:gd name="connsiteY49" fmla="*/ 1044116 h 6864730"/>
              <a:gd name="connsiteX50" fmla="*/ 2113835 w 5546031"/>
              <a:gd name="connsiteY50" fmla="*/ 522058 h 6864730"/>
              <a:gd name="connsiteX51" fmla="*/ 2635893 w 5546031"/>
              <a:gd name="connsiteY51" fmla="*/ 0 h 6864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5546031" h="6864730">
                <a:moveTo>
                  <a:pt x="1577115" y="2106064"/>
                </a:moveTo>
                <a:cubicBezTo>
                  <a:pt x="1865440" y="2106064"/>
                  <a:pt x="2099173" y="2339797"/>
                  <a:pt x="2099173" y="2628122"/>
                </a:cubicBezTo>
                <a:cubicBezTo>
                  <a:pt x="2099173" y="2916447"/>
                  <a:pt x="1865440" y="3150180"/>
                  <a:pt x="1577115" y="3150180"/>
                </a:cubicBezTo>
                <a:cubicBezTo>
                  <a:pt x="1288790" y="3150180"/>
                  <a:pt x="1055057" y="2916447"/>
                  <a:pt x="1055057" y="2628122"/>
                </a:cubicBezTo>
                <a:cubicBezTo>
                  <a:pt x="1055057" y="2339797"/>
                  <a:pt x="1288790" y="2106064"/>
                  <a:pt x="1577115" y="2106064"/>
                </a:cubicBezTo>
                <a:close/>
                <a:moveTo>
                  <a:pt x="2635893" y="0"/>
                </a:moveTo>
                <a:lnTo>
                  <a:pt x="2649648" y="1387"/>
                </a:lnTo>
                <a:lnTo>
                  <a:pt x="2649648" y="537"/>
                </a:lnTo>
                <a:lnTo>
                  <a:pt x="3846766" y="0"/>
                </a:lnTo>
                <a:lnTo>
                  <a:pt x="5545537" y="537"/>
                </a:lnTo>
                <a:cubicBezTo>
                  <a:pt x="5543820" y="2314681"/>
                  <a:pt x="5547253" y="4546401"/>
                  <a:pt x="5545536" y="6860545"/>
                </a:cubicBezTo>
                <a:cubicBezTo>
                  <a:pt x="5545847" y="6861075"/>
                  <a:pt x="2560070" y="6867533"/>
                  <a:pt x="1067337" y="6863300"/>
                </a:cubicBezTo>
                <a:cubicBezTo>
                  <a:pt x="1068990" y="6701392"/>
                  <a:pt x="1068066" y="6480242"/>
                  <a:pt x="1069719" y="6318334"/>
                </a:cubicBezTo>
                <a:cubicBezTo>
                  <a:pt x="1069719" y="6318330"/>
                  <a:pt x="1069720" y="6318325"/>
                  <a:pt x="1069720" y="6318321"/>
                </a:cubicBezTo>
                <a:cubicBezTo>
                  <a:pt x="1069720" y="6318317"/>
                  <a:pt x="1069719" y="6318314"/>
                  <a:pt x="1069719" y="6318310"/>
                </a:cubicBezTo>
                <a:lnTo>
                  <a:pt x="1061010" y="6219603"/>
                </a:lnTo>
                <a:cubicBezTo>
                  <a:pt x="1020946" y="5995312"/>
                  <a:pt x="846793" y="5817474"/>
                  <a:pt x="624433" y="5771972"/>
                </a:cubicBezTo>
                <a:lnTo>
                  <a:pt x="426816" y="5735384"/>
                </a:lnTo>
                <a:cubicBezTo>
                  <a:pt x="188923" y="5686704"/>
                  <a:pt x="9971" y="5476217"/>
                  <a:pt x="9971" y="5223932"/>
                </a:cubicBezTo>
                <a:cubicBezTo>
                  <a:pt x="9971" y="4971648"/>
                  <a:pt x="188923" y="4761160"/>
                  <a:pt x="426816" y="4712481"/>
                </a:cubicBezTo>
                <a:lnTo>
                  <a:pt x="512040" y="4703889"/>
                </a:lnTo>
                <a:lnTo>
                  <a:pt x="512040" y="4703511"/>
                </a:lnTo>
                <a:lnTo>
                  <a:pt x="423086" y="4694544"/>
                </a:lnTo>
                <a:cubicBezTo>
                  <a:pt x="181632" y="4645135"/>
                  <a:pt x="0" y="4431496"/>
                  <a:pt x="0" y="4175435"/>
                </a:cubicBezTo>
                <a:cubicBezTo>
                  <a:pt x="0" y="3882794"/>
                  <a:pt x="237233" y="3645561"/>
                  <a:pt x="529874" y="3645561"/>
                </a:cubicBezTo>
                <a:cubicBezTo>
                  <a:pt x="785935" y="3645561"/>
                  <a:pt x="999574" y="3827193"/>
                  <a:pt x="1048983" y="4068647"/>
                </a:cubicBezTo>
                <a:lnTo>
                  <a:pt x="1057146" y="4149617"/>
                </a:lnTo>
                <a:cubicBezTo>
                  <a:pt x="1060602" y="4241511"/>
                  <a:pt x="1063391" y="4555247"/>
                  <a:pt x="1069719" y="4620012"/>
                </a:cubicBezTo>
                <a:lnTo>
                  <a:pt x="1095113" y="4538207"/>
                </a:lnTo>
                <a:cubicBezTo>
                  <a:pt x="1174366" y="4350832"/>
                  <a:pt x="1359902" y="4219357"/>
                  <a:pt x="1576145" y="4219357"/>
                </a:cubicBezTo>
                <a:lnTo>
                  <a:pt x="1609779" y="4222748"/>
                </a:lnTo>
                <a:lnTo>
                  <a:pt x="1609779" y="4205666"/>
                </a:lnTo>
                <a:lnTo>
                  <a:pt x="1577115" y="4208959"/>
                </a:lnTo>
                <a:cubicBezTo>
                  <a:pt x="1288790" y="4208959"/>
                  <a:pt x="1055057" y="3975226"/>
                  <a:pt x="1055057" y="3686901"/>
                </a:cubicBezTo>
                <a:cubicBezTo>
                  <a:pt x="1055057" y="3398576"/>
                  <a:pt x="1288790" y="3164843"/>
                  <a:pt x="1577115" y="3164843"/>
                </a:cubicBezTo>
                <a:cubicBezTo>
                  <a:pt x="1829399" y="3164843"/>
                  <a:pt x="2039887" y="3343795"/>
                  <a:pt x="2088567" y="3581688"/>
                </a:cubicBezTo>
                <a:lnTo>
                  <a:pt x="2098635" y="3681565"/>
                </a:lnTo>
                <a:lnTo>
                  <a:pt x="2113837" y="3681565"/>
                </a:lnTo>
                <a:lnTo>
                  <a:pt x="2113837" y="2637449"/>
                </a:lnTo>
                <a:lnTo>
                  <a:pt x="2114775" y="2637449"/>
                </a:lnTo>
                <a:cubicBezTo>
                  <a:pt x="2114462" y="2634340"/>
                  <a:pt x="2114148" y="2631231"/>
                  <a:pt x="2113835" y="2628122"/>
                </a:cubicBezTo>
                <a:cubicBezTo>
                  <a:pt x="2113835" y="2339797"/>
                  <a:pt x="2347568" y="2106064"/>
                  <a:pt x="2635893" y="2106064"/>
                </a:cubicBezTo>
                <a:lnTo>
                  <a:pt x="2649648" y="2107451"/>
                </a:lnTo>
                <a:lnTo>
                  <a:pt x="2649648" y="2090015"/>
                </a:lnTo>
                <a:lnTo>
                  <a:pt x="2635894" y="2091401"/>
                </a:lnTo>
                <a:cubicBezTo>
                  <a:pt x="2347569" y="2091401"/>
                  <a:pt x="2113836" y="1857668"/>
                  <a:pt x="2113836" y="1569343"/>
                </a:cubicBezTo>
                <a:cubicBezTo>
                  <a:pt x="2113836" y="1281018"/>
                  <a:pt x="2347569" y="1047285"/>
                  <a:pt x="2635894" y="1047285"/>
                </a:cubicBezTo>
                <a:lnTo>
                  <a:pt x="2649648" y="1048672"/>
                </a:lnTo>
                <a:lnTo>
                  <a:pt x="2649648" y="1043268"/>
                </a:lnTo>
                <a:lnTo>
                  <a:pt x="2635893" y="1044116"/>
                </a:lnTo>
                <a:cubicBezTo>
                  <a:pt x="2347568" y="1044116"/>
                  <a:pt x="2113835" y="810383"/>
                  <a:pt x="2113835" y="522058"/>
                </a:cubicBezTo>
                <a:cubicBezTo>
                  <a:pt x="2113835" y="233733"/>
                  <a:pt x="2347568" y="0"/>
                  <a:pt x="2635893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200">
                <a:latin typeface="+mn-lt"/>
              </a:defRPr>
            </a:lvl1pPr>
          </a:lstStyle>
          <a:p>
            <a:r>
              <a:rPr lang="fi-FI"/>
              <a:t>Lisää kuva napsauttamalla kuvaketta</a:t>
            </a:r>
          </a:p>
        </p:txBody>
      </p:sp>
    </p:spTree>
    <p:extLst>
      <p:ext uri="{BB962C8B-B14F-4D97-AF65-F5344CB8AC3E}">
        <p14:creationId xmlns:p14="http://schemas.microsoft.com/office/powerpoint/2010/main" val="1187992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/>
              <a:t>Muokkaa perustyyliä napsauttamalla</a:t>
            </a:r>
          </a:p>
        </p:txBody>
      </p:sp>
      <p:sp>
        <p:nvSpPr>
          <p:cNvPr id="9" name="Sisällön paikkamerkki 8"/>
          <p:cNvSpPr>
            <a:spLocks noGrp="1"/>
          </p:cNvSpPr>
          <p:nvPr>
            <p:ph sz="quarter" idx="13"/>
          </p:nvPr>
        </p:nvSpPr>
        <p:spPr>
          <a:xfrm>
            <a:off x="479425" y="1628775"/>
            <a:ext cx="5472113" cy="4321175"/>
          </a:xfrm>
        </p:spPr>
        <p:txBody>
          <a:bodyPr/>
          <a:lstStyle>
            <a:lvl1pPr>
              <a:defRPr sz="2800"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11" name="Sisällön paikkamerkki 10"/>
          <p:cNvSpPr>
            <a:spLocks noGrp="1"/>
          </p:cNvSpPr>
          <p:nvPr>
            <p:ph sz="quarter" idx="14"/>
          </p:nvPr>
        </p:nvSpPr>
        <p:spPr>
          <a:xfrm>
            <a:off x="6240463" y="1628775"/>
            <a:ext cx="5472112" cy="4321175"/>
          </a:xfrm>
        </p:spPr>
        <p:txBody>
          <a:bodyPr/>
          <a:lstStyle>
            <a:lvl1pPr>
              <a:defRPr sz="2800"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14116786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479425" y="333375"/>
            <a:ext cx="11233150" cy="935039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/>
              <a:t>Muokkaa perustyyliä napsauttamalla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479425" y="1633538"/>
            <a:ext cx="5472113" cy="679338"/>
          </a:xfrm>
        </p:spPr>
        <p:txBody>
          <a:bodyPr anchor="b"/>
          <a:lstStyle>
            <a:lvl1pPr marL="0" indent="0">
              <a:buNone/>
              <a:defRPr sz="2800" b="1">
                <a:solidFill>
                  <a:schemeClr val="accent1"/>
                </a:solidFill>
                <a:latin typeface="+mn-lt"/>
                <a:ea typeface="Inter SemiBold" panose="020005030000000200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479425" y="2505075"/>
            <a:ext cx="5472113" cy="34448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6240463" y="1633538"/>
            <a:ext cx="5472112" cy="679338"/>
          </a:xfrm>
        </p:spPr>
        <p:txBody>
          <a:bodyPr anchor="b"/>
          <a:lstStyle>
            <a:lvl1pPr marL="0" indent="0">
              <a:buNone/>
              <a:defRPr sz="2800" b="1">
                <a:solidFill>
                  <a:schemeClr val="accent1"/>
                </a:solidFill>
                <a:latin typeface="+mn-lt"/>
                <a:ea typeface="Inter SemiBold" panose="020005030000000200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/>
          </p:nvPr>
        </p:nvSpPr>
        <p:spPr>
          <a:xfrm>
            <a:off x="6240463" y="2505075"/>
            <a:ext cx="5472112" cy="34448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236102931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/>
              <a:t>Muokkaa perustyyli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15115185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Loppudia_val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 userDrawn="1">
            <p:ph type="ctrTitle" hasCustomPrompt="1"/>
          </p:nvPr>
        </p:nvSpPr>
        <p:spPr>
          <a:xfrm>
            <a:off x="5959414" y="1270000"/>
            <a:ext cx="5753161" cy="1150887"/>
          </a:xfrm>
        </p:spPr>
        <p:txBody>
          <a:bodyPr anchor="b">
            <a:noAutofit/>
          </a:bodyPr>
          <a:lstStyle>
            <a:lvl1pPr algn="l">
              <a:defRPr sz="44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i-FI"/>
              <a:t>Muokkaa perustyyliä napsauttamalla</a:t>
            </a:r>
          </a:p>
        </p:txBody>
      </p:sp>
      <p:sp>
        <p:nvSpPr>
          <p:cNvPr id="3" name="Alaotsikko 2"/>
          <p:cNvSpPr>
            <a:spLocks noGrp="1"/>
          </p:cNvSpPr>
          <p:nvPr userDrawn="1">
            <p:ph type="subTitle" idx="1"/>
          </p:nvPr>
        </p:nvSpPr>
        <p:spPr>
          <a:xfrm>
            <a:off x="5959414" y="2636912"/>
            <a:ext cx="5753161" cy="3005364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/>
          </a:p>
        </p:txBody>
      </p:sp>
      <p:pic>
        <p:nvPicPr>
          <p:cNvPr id="20" name="Kuva 1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22624" y="1270000"/>
            <a:ext cx="3369220" cy="4372276"/>
          </a:xfrm>
          <a:prstGeom prst="rect">
            <a:avLst/>
          </a:prstGeom>
        </p:spPr>
      </p:pic>
      <p:pic>
        <p:nvPicPr>
          <p:cNvPr id="32" name="Kuva 3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72575" y="6237288"/>
            <a:ext cx="1440000" cy="425694"/>
          </a:xfrm>
          <a:prstGeom prst="rect">
            <a:avLst/>
          </a:prstGeom>
        </p:spPr>
      </p:pic>
      <p:pic>
        <p:nvPicPr>
          <p:cNvPr id="17" name="Kuva 16">
            <a:extLst>
              <a:ext uri="{FF2B5EF4-FFF2-40B4-BE49-F238E27FC236}">
                <a16:creationId xmlns:a16="http://schemas.microsoft.com/office/drawing/2014/main" id="{DB37A8E0-51C7-42D4-AA59-2ED69BF982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951538" y="6237288"/>
            <a:ext cx="215053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11374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Loppudia_val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 userDrawn="1">
            <p:ph type="ctrTitle" hasCustomPrompt="1"/>
          </p:nvPr>
        </p:nvSpPr>
        <p:spPr>
          <a:xfrm>
            <a:off x="5959414" y="1270000"/>
            <a:ext cx="5753161" cy="1150887"/>
          </a:xfrm>
        </p:spPr>
        <p:txBody>
          <a:bodyPr anchor="b">
            <a:noAutofit/>
          </a:bodyPr>
          <a:lstStyle>
            <a:lvl1pPr algn="l">
              <a:defRPr sz="44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i-FI"/>
              <a:t>Muokkaa perustyyliä napsauttamalla</a:t>
            </a:r>
          </a:p>
        </p:txBody>
      </p:sp>
      <p:sp>
        <p:nvSpPr>
          <p:cNvPr id="3" name="Alaotsikko 2"/>
          <p:cNvSpPr>
            <a:spLocks noGrp="1"/>
          </p:cNvSpPr>
          <p:nvPr userDrawn="1">
            <p:ph type="subTitle" idx="1"/>
          </p:nvPr>
        </p:nvSpPr>
        <p:spPr>
          <a:xfrm>
            <a:off x="5959414" y="2636912"/>
            <a:ext cx="5753161" cy="3005364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</a:p>
        </p:txBody>
      </p:sp>
      <p:pic>
        <p:nvPicPr>
          <p:cNvPr id="20" name="Kuva 1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22624" y="1270000"/>
            <a:ext cx="3369220" cy="4372276"/>
          </a:xfrm>
          <a:prstGeom prst="rect">
            <a:avLst/>
          </a:prstGeom>
        </p:spPr>
      </p:pic>
      <p:pic>
        <p:nvPicPr>
          <p:cNvPr id="32" name="Kuva 3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72575" y="6237288"/>
            <a:ext cx="1440000" cy="425694"/>
          </a:xfrm>
          <a:prstGeom prst="rect">
            <a:avLst/>
          </a:prstGeom>
        </p:spPr>
      </p:pic>
      <p:pic>
        <p:nvPicPr>
          <p:cNvPr id="17" name="Kuva 16">
            <a:extLst>
              <a:ext uri="{FF2B5EF4-FFF2-40B4-BE49-F238E27FC236}">
                <a16:creationId xmlns:a16="http://schemas.microsoft.com/office/drawing/2014/main" id="{DB37A8E0-51C7-42D4-AA59-2ED69BF982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951538" y="6237288"/>
            <a:ext cx="215053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68785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tsikko ja sisältö_pallo_roo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val 17"/>
          <p:cNvSpPr>
            <a:spLocks noChangeAspect="1" noChangeArrowheads="1"/>
          </p:cNvSpPr>
          <p:nvPr userDrawn="1"/>
        </p:nvSpPr>
        <p:spPr bwMode="auto">
          <a:xfrm>
            <a:off x="6782976" y="1628775"/>
            <a:ext cx="4353584" cy="4353584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479425" y="1628775"/>
            <a:ext cx="5616575" cy="4321175"/>
          </a:xfrm>
        </p:spPr>
        <p:txBody>
          <a:bodyPr/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lvl1pPr>
            <a:lvl2pPr marL="46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/>
            </a:lvl2pPr>
            <a:lvl3pPr marL="64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/>
            </a:lvl3pPr>
            <a:lvl4pPr marL="82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/>
            </a:lvl4pPr>
            <a:lvl5pPr marL="1005750" indent="-285750">
              <a:buClr>
                <a:schemeClr val="accent1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11" name="Sisällön paikkamerkki 10"/>
          <p:cNvSpPr>
            <a:spLocks noGrp="1"/>
          </p:cNvSpPr>
          <p:nvPr>
            <p:ph sz="quarter" idx="13"/>
          </p:nvPr>
        </p:nvSpPr>
        <p:spPr>
          <a:xfrm>
            <a:off x="6944563" y="1790363"/>
            <a:ext cx="3996826" cy="3996826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Inter SemiBold" panose="02000503000000020004" pitchFamily="2" charset="0"/>
                <a:ea typeface="Inter SemiBold" panose="02000503000000020004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fi-FI"/>
              <a:t>Muokkaa tekstin perustyylejä</a:t>
            </a:r>
          </a:p>
        </p:txBody>
      </p:sp>
    </p:spTree>
    <p:extLst>
      <p:ext uri="{BB962C8B-B14F-4D97-AF65-F5344CB8AC3E}">
        <p14:creationId xmlns:p14="http://schemas.microsoft.com/office/powerpoint/2010/main" val="881390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D5B26-E12A-4921-A84D-B5DEBB28A7EE}" type="datetimeFigureOut">
              <a:rPr lang="fi-FI" smtClean="0"/>
              <a:t>13.12.2023</a:t>
            </a:fld>
            <a:endParaRPr lang="fi-FI"/>
          </a:p>
        </p:txBody>
      </p:sp>
      <p:sp>
        <p:nvSpPr>
          <p:cNvPr id="3" name="Alatunnisteen paikkamerk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9017BA-BB27-438C-8078-7CF57B26421C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6923062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BB224A1-981E-470E-A693-AF9CCE6E6B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BB224A1-981E-470E-A693-AF9CCE6E6B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C188FDF-F5D6-42E3-B0E7-ACB667B5667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3D37F8-22D3-48E0-8D89-5DDCFAF338AF}" type="slidenum">
              <a:rPr lang="fi-FI" smtClean="0">
                <a:solidFill>
                  <a:srgbClr val="484A4B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fi-FI">
              <a:solidFill>
                <a:srgbClr val="484A4B">
                  <a:lumMod val="65000"/>
                  <a:lumOff val="35000"/>
                </a:srgbClr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9828E9B-4C79-4093-BB65-6D6424112EF7}"/>
              </a:ext>
            </a:extLst>
          </p:cNvPr>
          <p:cNvSpPr/>
          <p:nvPr userDrawn="1"/>
        </p:nvSpPr>
        <p:spPr>
          <a:xfrm>
            <a:off x="10608503" y="68628"/>
            <a:ext cx="1056117" cy="105611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24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532744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Otsikko ja sisältö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5">
            <a:extLst>
              <a:ext uri="{FF2B5EF4-FFF2-40B4-BE49-F238E27FC236}">
                <a16:creationId xmlns:a16="http://schemas.microsoft.com/office/drawing/2014/main" id="{B9F05DB3-87F3-4CD5-B203-F0DE1D45E3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EF1DE5-3153-41DC-9029-A8E0F7729D62}" type="datetimeFigureOut">
              <a:rPr lang="fi-FI" smtClean="0"/>
              <a:t>13.12.2023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grpSp>
        <p:nvGrpSpPr>
          <p:cNvPr id="7" name="Ryhmä 6">
            <a:extLst>
              <a:ext uri="{FF2B5EF4-FFF2-40B4-BE49-F238E27FC236}">
                <a16:creationId xmlns:a16="http://schemas.microsoft.com/office/drawing/2014/main" id="{7984B389-3000-4ED2-9A35-7B7D592EB3D4}"/>
              </a:ext>
            </a:extLst>
          </p:cNvPr>
          <p:cNvGrpSpPr/>
          <p:nvPr userDrawn="1"/>
        </p:nvGrpSpPr>
        <p:grpSpPr>
          <a:xfrm>
            <a:off x="8943630" y="6415994"/>
            <a:ext cx="2407170" cy="262963"/>
            <a:chOff x="4855346" y="6074806"/>
            <a:chExt cx="5173856" cy="565200"/>
          </a:xfrm>
        </p:grpSpPr>
        <p:pic>
          <p:nvPicPr>
            <p:cNvPr id="8" name="Logo">
              <a:extLst>
                <a:ext uri="{FF2B5EF4-FFF2-40B4-BE49-F238E27FC236}">
                  <a16:creationId xmlns:a16="http://schemas.microsoft.com/office/drawing/2014/main" id="{0C0D2DAC-44E0-4CD7-8831-6139F1425BA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855346" y="6074806"/>
              <a:ext cx="2485747" cy="565200"/>
            </a:xfrm>
            <a:prstGeom prst="rect">
              <a:avLst/>
            </a:prstGeom>
          </p:spPr>
        </p:pic>
        <p:pic>
          <p:nvPicPr>
            <p:cNvPr id="9" name="Kuva 8">
              <a:extLst>
                <a:ext uri="{FF2B5EF4-FFF2-40B4-BE49-F238E27FC236}">
                  <a16:creationId xmlns:a16="http://schemas.microsoft.com/office/drawing/2014/main" id="{86507F18-9CAF-4C95-9487-A914197153C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812432" y="6231835"/>
              <a:ext cx="2216770" cy="2412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842861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_2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fi-FI"/>
              <a:t>Muokkaa perustyyliä napsauttamalla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479425" y="1628775"/>
            <a:ext cx="11233150" cy="4321175"/>
          </a:xfrm>
        </p:spPr>
        <p:txBody>
          <a:bodyPr numCol="2" spcCol="720000"/>
          <a:lstStyle>
            <a:lvl1pPr marL="216000" indent="-216000">
              <a:defRPr sz="2800">
                <a:latin typeface="+mn-lt"/>
              </a:defRPr>
            </a:lvl1pPr>
            <a:lvl2pPr indent="-216000">
              <a:defRPr>
                <a:latin typeface="+mn-lt"/>
              </a:defRPr>
            </a:lvl2pPr>
            <a:lvl3pPr indent="-216000">
              <a:defRPr>
                <a:latin typeface="+mn-lt"/>
              </a:defRPr>
            </a:lvl3pPr>
            <a:lvl4pPr indent="-216000">
              <a:defRPr>
                <a:latin typeface="+mn-lt"/>
              </a:defRPr>
            </a:lvl4pPr>
            <a:lvl5pPr indent="-216000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5134136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_4 kuvapaikk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479425" y="333375"/>
            <a:ext cx="5472113" cy="923925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/>
              <a:t>Muokkaa perustyyliä napsauttamalla</a:t>
            </a:r>
          </a:p>
        </p:txBody>
      </p:sp>
      <p:sp>
        <p:nvSpPr>
          <p:cNvPr id="15" name="Tekstin paikkamerkki 14"/>
          <p:cNvSpPr>
            <a:spLocks noGrp="1"/>
          </p:cNvSpPr>
          <p:nvPr>
            <p:ph type="body" sz="quarter" idx="17"/>
          </p:nvPr>
        </p:nvSpPr>
        <p:spPr>
          <a:xfrm>
            <a:off x="479425" y="1628775"/>
            <a:ext cx="5472113" cy="431165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Kuvan paikkamerkki 7"/>
          <p:cNvSpPr>
            <a:spLocks noGrp="1" noChangeAspect="1"/>
          </p:cNvSpPr>
          <p:nvPr>
            <p:ph type="pic" sz="quarter" idx="13"/>
          </p:nvPr>
        </p:nvSpPr>
        <p:spPr>
          <a:xfrm>
            <a:off x="6240462" y="332656"/>
            <a:ext cx="2628000" cy="262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0" name="Kuvan paikkamerkki 7"/>
          <p:cNvSpPr>
            <a:spLocks noGrp="1" noChangeAspect="1"/>
          </p:cNvSpPr>
          <p:nvPr>
            <p:ph type="pic" sz="quarter" idx="14"/>
          </p:nvPr>
        </p:nvSpPr>
        <p:spPr>
          <a:xfrm>
            <a:off x="9192636" y="332656"/>
            <a:ext cx="2628000" cy="262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1" name="Kuvan paikkamerkki 7"/>
          <p:cNvSpPr>
            <a:spLocks noGrp="1" noChangeAspect="1"/>
          </p:cNvSpPr>
          <p:nvPr>
            <p:ph type="pic" sz="quarter" idx="15"/>
          </p:nvPr>
        </p:nvSpPr>
        <p:spPr>
          <a:xfrm>
            <a:off x="6240462" y="3312596"/>
            <a:ext cx="2628000" cy="262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12" name="Kuvan paikkamerkki 7"/>
          <p:cNvSpPr>
            <a:spLocks noGrp="1" noChangeAspect="1"/>
          </p:cNvSpPr>
          <p:nvPr>
            <p:ph type="pic" sz="quarter" idx="16"/>
          </p:nvPr>
        </p:nvSpPr>
        <p:spPr>
          <a:xfrm>
            <a:off x="9192636" y="3312596"/>
            <a:ext cx="2628000" cy="262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780774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sisältö, kuvapaikk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479424" y="333375"/>
            <a:ext cx="5472113" cy="923925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/>
              <a:t>Muokkaa perustyyliä napsauttamalla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15"/>
          </p:nvPr>
        </p:nvSpPr>
        <p:spPr>
          <a:xfrm>
            <a:off x="479424" y="1628775"/>
            <a:ext cx="5472114" cy="43211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Kuvan paikkamerkki 3"/>
          <p:cNvSpPr>
            <a:spLocks noGrp="1"/>
          </p:cNvSpPr>
          <p:nvPr>
            <p:ph type="pic" sz="quarter" idx="16"/>
          </p:nvPr>
        </p:nvSpPr>
        <p:spPr>
          <a:xfrm>
            <a:off x="6240463" y="0"/>
            <a:ext cx="5951536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447632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, sisältö, kuvapaikk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6240510" y="333375"/>
            <a:ext cx="5472113" cy="923925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/>
              <a:t>Muokkaa perustyyliä napsauttamalla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15"/>
          </p:nvPr>
        </p:nvSpPr>
        <p:spPr>
          <a:xfrm>
            <a:off x="6240510" y="1628775"/>
            <a:ext cx="5472114" cy="43211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Kuvan paikkamerkki 3"/>
          <p:cNvSpPr>
            <a:spLocks noGrp="1"/>
          </p:cNvSpPr>
          <p:nvPr>
            <p:ph type="pic" sz="quarter" idx="16"/>
          </p:nvPr>
        </p:nvSpPr>
        <p:spPr>
          <a:xfrm>
            <a:off x="2" y="0"/>
            <a:ext cx="5951536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30FB90F6-6D35-4849-B924-ACF4E2E077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72575" y="6237288"/>
            <a:ext cx="1440000" cy="425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7385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, sisältö, kuvapaikk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Kuvan paikkamerkki 19"/>
          <p:cNvSpPr>
            <a:spLocks noGrp="1"/>
          </p:cNvSpPr>
          <p:nvPr>
            <p:ph type="pic" sz="quarter" idx="13"/>
          </p:nvPr>
        </p:nvSpPr>
        <p:spPr>
          <a:xfrm>
            <a:off x="-9291" y="0"/>
            <a:ext cx="5490303" cy="6858000"/>
          </a:xfrm>
          <a:custGeom>
            <a:avLst/>
            <a:gdLst>
              <a:gd name="connsiteX0" fmla="*/ 0 w 6853504"/>
              <a:gd name="connsiteY0" fmla="*/ 0 h 6853504"/>
              <a:gd name="connsiteX1" fmla="*/ 3426752 w 6853504"/>
              <a:gd name="connsiteY1" fmla="*/ 0 h 6853504"/>
              <a:gd name="connsiteX2" fmla="*/ 6853504 w 6853504"/>
              <a:gd name="connsiteY2" fmla="*/ 3426752 h 6853504"/>
              <a:gd name="connsiteX3" fmla="*/ 3426752 w 6853504"/>
              <a:gd name="connsiteY3" fmla="*/ 6853504 h 6853504"/>
              <a:gd name="connsiteX4" fmla="*/ 0 w 6853504"/>
              <a:gd name="connsiteY4" fmla="*/ 6853504 h 6853504"/>
              <a:gd name="connsiteX5" fmla="*/ 0 w 6853504"/>
              <a:gd name="connsiteY5" fmla="*/ 0 h 6853504"/>
              <a:gd name="connsiteX0" fmla="*/ 1347537 w 6853504"/>
              <a:gd name="connsiteY0" fmla="*/ 0 h 6865535"/>
              <a:gd name="connsiteX1" fmla="*/ 3426752 w 6853504"/>
              <a:gd name="connsiteY1" fmla="*/ 12031 h 6865535"/>
              <a:gd name="connsiteX2" fmla="*/ 6853504 w 6853504"/>
              <a:gd name="connsiteY2" fmla="*/ 3438783 h 6865535"/>
              <a:gd name="connsiteX3" fmla="*/ 3426752 w 6853504"/>
              <a:gd name="connsiteY3" fmla="*/ 6865535 h 6865535"/>
              <a:gd name="connsiteX4" fmla="*/ 0 w 6853504"/>
              <a:gd name="connsiteY4" fmla="*/ 6865535 h 6865535"/>
              <a:gd name="connsiteX5" fmla="*/ 1347537 w 6853504"/>
              <a:gd name="connsiteY5" fmla="*/ 0 h 6865535"/>
              <a:gd name="connsiteX0" fmla="*/ 0 w 5505967"/>
              <a:gd name="connsiteY0" fmla="*/ 0 h 6877567"/>
              <a:gd name="connsiteX1" fmla="*/ 2079215 w 5505967"/>
              <a:gd name="connsiteY1" fmla="*/ 12031 h 6877567"/>
              <a:gd name="connsiteX2" fmla="*/ 5505967 w 5505967"/>
              <a:gd name="connsiteY2" fmla="*/ 3438783 h 6877567"/>
              <a:gd name="connsiteX3" fmla="*/ 2079215 w 5505967"/>
              <a:gd name="connsiteY3" fmla="*/ 6865535 h 6877567"/>
              <a:gd name="connsiteX4" fmla="*/ 12031 w 5505967"/>
              <a:gd name="connsiteY4" fmla="*/ 6877567 h 6877567"/>
              <a:gd name="connsiteX5" fmla="*/ 0 w 5505967"/>
              <a:gd name="connsiteY5" fmla="*/ 0 h 6877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05967" h="6877567">
                <a:moveTo>
                  <a:pt x="0" y="0"/>
                </a:moveTo>
                <a:lnTo>
                  <a:pt x="2079215" y="12031"/>
                </a:lnTo>
                <a:cubicBezTo>
                  <a:pt x="3971758" y="12031"/>
                  <a:pt x="5505967" y="1546240"/>
                  <a:pt x="5505967" y="3438783"/>
                </a:cubicBezTo>
                <a:cubicBezTo>
                  <a:pt x="5505967" y="5331326"/>
                  <a:pt x="3971758" y="6865535"/>
                  <a:pt x="2079215" y="6865535"/>
                </a:cubicBezTo>
                <a:lnTo>
                  <a:pt x="12031" y="6877567"/>
                </a:lnTo>
                <a:cubicBezTo>
                  <a:pt x="8021" y="4585045"/>
                  <a:pt x="4010" y="2292522"/>
                  <a:pt x="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20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pic>
        <p:nvPicPr>
          <p:cNvPr id="9" name="Kuva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72575" y="6237288"/>
            <a:ext cx="1440000" cy="425694"/>
          </a:xfrm>
          <a:prstGeom prst="rect">
            <a:avLst/>
          </a:prstGeom>
        </p:spPr>
      </p:pic>
      <p:sp>
        <p:nvSpPr>
          <p:cNvPr id="6" name="Otsikko 1">
            <a:extLst>
              <a:ext uri="{FF2B5EF4-FFF2-40B4-BE49-F238E27FC236}">
                <a16:creationId xmlns:a16="http://schemas.microsoft.com/office/drawing/2014/main" id="{7E4171C4-DD32-4377-8D67-FB1A197745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40463" y="333375"/>
            <a:ext cx="5472113" cy="923925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/>
              <a:t>Muokkaa perustyyliä napsauttamalla</a:t>
            </a:r>
          </a:p>
        </p:txBody>
      </p:sp>
      <p:sp>
        <p:nvSpPr>
          <p:cNvPr id="7" name="Tekstin paikkamerkki 10">
            <a:extLst>
              <a:ext uri="{FF2B5EF4-FFF2-40B4-BE49-F238E27FC236}">
                <a16:creationId xmlns:a16="http://schemas.microsoft.com/office/drawing/2014/main" id="{B9E7CB1E-D677-4A67-854A-864FFD0F81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40464" y="1628775"/>
            <a:ext cx="5472112" cy="43211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327478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, sisältö, kuvapaikka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7248130" y="333375"/>
            <a:ext cx="4464446" cy="923925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/>
              <a:t>Muokkaa perustyyliä napsauttamalla</a:t>
            </a:r>
          </a:p>
        </p:txBody>
      </p:sp>
      <p:sp>
        <p:nvSpPr>
          <p:cNvPr id="11" name="Tekstin paikkamerkki 10"/>
          <p:cNvSpPr>
            <a:spLocks noGrp="1"/>
          </p:cNvSpPr>
          <p:nvPr>
            <p:ph type="body" sz="quarter" idx="14"/>
          </p:nvPr>
        </p:nvSpPr>
        <p:spPr>
          <a:xfrm>
            <a:off x="7248130" y="1628775"/>
            <a:ext cx="4464445" cy="43211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Kuvan paikkamerkki 19"/>
          <p:cNvSpPr>
            <a:spLocks noGrp="1"/>
          </p:cNvSpPr>
          <p:nvPr>
            <p:ph type="pic" sz="quarter" idx="13"/>
          </p:nvPr>
        </p:nvSpPr>
        <p:spPr>
          <a:xfrm>
            <a:off x="0" y="4497"/>
            <a:ext cx="6853504" cy="6853504"/>
          </a:xfrm>
          <a:prstGeom prst="flowChartDelay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20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pic>
        <p:nvPicPr>
          <p:cNvPr id="10" name="Kuva 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72575" y="6237288"/>
            <a:ext cx="1440000" cy="425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88146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_pattern-kuvapa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479425" y="333375"/>
            <a:ext cx="7524750" cy="923925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/>
              <a:t>Muokkaa perustyyliä napsauttamalla</a:t>
            </a:r>
          </a:p>
        </p:txBody>
      </p:sp>
      <p:sp>
        <p:nvSpPr>
          <p:cNvPr id="9" name="Tekstin paikkamerkki 8"/>
          <p:cNvSpPr>
            <a:spLocks noGrp="1"/>
          </p:cNvSpPr>
          <p:nvPr>
            <p:ph type="body" sz="quarter" idx="14"/>
          </p:nvPr>
        </p:nvSpPr>
        <p:spPr>
          <a:xfrm>
            <a:off x="479425" y="1628775"/>
            <a:ext cx="5616575" cy="43211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Kuvan paikkamerkki 58"/>
          <p:cNvSpPr>
            <a:spLocks noGrp="1"/>
          </p:cNvSpPr>
          <p:nvPr>
            <p:ph type="pic" sz="quarter" idx="13"/>
          </p:nvPr>
        </p:nvSpPr>
        <p:spPr>
          <a:xfrm>
            <a:off x="6646461" y="-538"/>
            <a:ext cx="5546031" cy="6864730"/>
          </a:xfrm>
          <a:custGeom>
            <a:avLst/>
            <a:gdLst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76000 h 6876000"/>
              <a:gd name="connsiteX15" fmla="*/ 2649648 w 5545537"/>
              <a:gd name="connsiteY15" fmla="*/ 6858537 h 6876000"/>
              <a:gd name="connsiteX16" fmla="*/ 2617891 w 5545537"/>
              <a:gd name="connsiteY16" fmla="*/ 6858537 h 6876000"/>
              <a:gd name="connsiteX17" fmla="*/ 2617891 w 5545537"/>
              <a:gd name="connsiteY17" fmla="*/ 6876000 h 6876000"/>
              <a:gd name="connsiteX18" fmla="*/ 1609779 w 5545537"/>
              <a:gd name="connsiteY18" fmla="*/ 6876000 h 6876000"/>
              <a:gd name="connsiteX19" fmla="*/ 1609779 w 5545537"/>
              <a:gd name="connsiteY19" fmla="*/ 6858537 h 6876000"/>
              <a:gd name="connsiteX20" fmla="*/ 1069719 w 5545537"/>
              <a:gd name="connsiteY20" fmla="*/ 6858537 h 6876000"/>
              <a:gd name="connsiteX21" fmla="*/ 1069719 w 5545537"/>
              <a:gd name="connsiteY21" fmla="*/ 6318334 h 6876000"/>
              <a:gd name="connsiteX22" fmla="*/ 1069720 w 5545537"/>
              <a:gd name="connsiteY22" fmla="*/ 6318321 h 6876000"/>
              <a:gd name="connsiteX23" fmla="*/ 1069719 w 5545537"/>
              <a:gd name="connsiteY23" fmla="*/ 6318310 h 6876000"/>
              <a:gd name="connsiteX24" fmla="*/ 1069719 w 5545537"/>
              <a:gd name="connsiteY24" fmla="*/ 6237825 h 6876000"/>
              <a:gd name="connsiteX25" fmla="*/ 1062618 w 5545537"/>
              <a:gd name="connsiteY25" fmla="*/ 6237825 h 6876000"/>
              <a:gd name="connsiteX26" fmla="*/ 1061010 w 5545537"/>
              <a:gd name="connsiteY26" fmla="*/ 6219603 h 6876000"/>
              <a:gd name="connsiteX27" fmla="*/ 624433 w 5545537"/>
              <a:gd name="connsiteY27" fmla="*/ 5771972 h 6876000"/>
              <a:gd name="connsiteX28" fmla="*/ 529659 w 5545537"/>
              <a:gd name="connsiteY28" fmla="*/ 5762418 h 6876000"/>
              <a:gd name="connsiteX29" fmla="*/ 529659 w 5545537"/>
              <a:gd name="connsiteY29" fmla="*/ 5760642 h 6876000"/>
              <a:gd name="connsiteX30" fmla="*/ 512040 w 5545537"/>
              <a:gd name="connsiteY30" fmla="*/ 5760642 h 6876000"/>
              <a:gd name="connsiteX31" fmla="*/ 512040 w 5545537"/>
              <a:gd name="connsiteY31" fmla="*/ 5743975 h 6876000"/>
              <a:gd name="connsiteX32" fmla="*/ 426816 w 5545537"/>
              <a:gd name="connsiteY32" fmla="*/ 5735384 h 6876000"/>
              <a:gd name="connsiteX33" fmla="*/ 9971 w 5545537"/>
              <a:gd name="connsiteY33" fmla="*/ 5223932 h 6876000"/>
              <a:gd name="connsiteX34" fmla="*/ 426816 w 5545537"/>
              <a:gd name="connsiteY34" fmla="*/ 4712481 h 6876000"/>
              <a:gd name="connsiteX35" fmla="*/ 512040 w 5545537"/>
              <a:gd name="connsiteY35" fmla="*/ 4703889 h 6876000"/>
              <a:gd name="connsiteX36" fmla="*/ 512040 w 5545537"/>
              <a:gd name="connsiteY36" fmla="*/ 4703511 h 6876000"/>
              <a:gd name="connsiteX37" fmla="*/ 423086 w 5545537"/>
              <a:gd name="connsiteY37" fmla="*/ 4694544 h 6876000"/>
              <a:gd name="connsiteX38" fmla="*/ 0 w 5545537"/>
              <a:gd name="connsiteY38" fmla="*/ 4175435 h 6876000"/>
              <a:gd name="connsiteX39" fmla="*/ 529874 w 5545537"/>
              <a:gd name="connsiteY39" fmla="*/ 3645561 h 6876000"/>
              <a:gd name="connsiteX40" fmla="*/ 1048983 w 5545537"/>
              <a:gd name="connsiteY40" fmla="*/ 4068647 h 6876000"/>
              <a:gd name="connsiteX41" fmla="*/ 1057146 w 5545537"/>
              <a:gd name="connsiteY41" fmla="*/ 4149617 h 6876000"/>
              <a:gd name="connsiteX42" fmla="*/ 1069719 w 5545537"/>
              <a:gd name="connsiteY42" fmla="*/ 4149617 h 6876000"/>
              <a:gd name="connsiteX43" fmla="*/ 1069719 w 5545537"/>
              <a:gd name="connsiteY43" fmla="*/ 4620012 h 6876000"/>
              <a:gd name="connsiteX44" fmla="*/ 1095113 w 5545537"/>
              <a:gd name="connsiteY44" fmla="*/ 4538207 h 6876000"/>
              <a:gd name="connsiteX45" fmla="*/ 1576145 w 5545537"/>
              <a:gd name="connsiteY45" fmla="*/ 4219357 h 6876000"/>
              <a:gd name="connsiteX46" fmla="*/ 1609779 w 5545537"/>
              <a:gd name="connsiteY46" fmla="*/ 4222748 h 6876000"/>
              <a:gd name="connsiteX47" fmla="*/ 1609779 w 5545537"/>
              <a:gd name="connsiteY47" fmla="*/ 4205666 h 6876000"/>
              <a:gd name="connsiteX48" fmla="*/ 1577115 w 5545537"/>
              <a:gd name="connsiteY48" fmla="*/ 4208959 h 6876000"/>
              <a:gd name="connsiteX49" fmla="*/ 1055057 w 5545537"/>
              <a:gd name="connsiteY49" fmla="*/ 3686901 h 6876000"/>
              <a:gd name="connsiteX50" fmla="*/ 1577115 w 5545537"/>
              <a:gd name="connsiteY50" fmla="*/ 3164843 h 6876000"/>
              <a:gd name="connsiteX51" fmla="*/ 2088567 w 5545537"/>
              <a:gd name="connsiteY51" fmla="*/ 3581688 h 6876000"/>
              <a:gd name="connsiteX52" fmla="*/ 2098635 w 5545537"/>
              <a:gd name="connsiteY52" fmla="*/ 3681565 h 6876000"/>
              <a:gd name="connsiteX53" fmla="*/ 2113837 w 5545537"/>
              <a:gd name="connsiteY53" fmla="*/ 3681565 h 6876000"/>
              <a:gd name="connsiteX54" fmla="*/ 2113837 w 5545537"/>
              <a:gd name="connsiteY54" fmla="*/ 2637449 h 6876000"/>
              <a:gd name="connsiteX55" fmla="*/ 2114775 w 5545537"/>
              <a:gd name="connsiteY55" fmla="*/ 2637449 h 6876000"/>
              <a:gd name="connsiteX56" fmla="*/ 2113835 w 5545537"/>
              <a:gd name="connsiteY56" fmla="*/ 2628122 h 6876000"/>
              <a:gd name="connsiteX57" fmla="*/ 2635893 w 5545537"/>
              <a:gd name="connsiteY57" fmla="*/ 2106064 h 6876000"/>
              <a:gd name="connsiteX58" fmla="*/ 2649648 w 5545537"/>
              <a:gd name="connsiteY58" fmla="*/ 2107451 h 6876000"/>
              <a:gd name="connsiteX59" fmla="*/ 2649648 w 5545537"/>
              <a:gd name="connsiteY59" fmla="*/ 2090015 h 6876000"/>
              <a:gd name="connsiteX60" fmla="*/ 2635894 w 5545537"/>
              <a:gd name="connsiteY60" fmla="*/ 2091401 h 6876000"/>
              <a:gd name="connsiteX61" fmla="*/ 2113836 w 5545537"/>
              <a:gd name="connsiteY61" fmla="*/ 1569343 h 6876000"/>
              <a:gd name="connsiteX62" fmla="*/ 2635894 w 5545537"/>
              <a:gd name="connsiteY62" fmla="*/ 1047285 h 6876000"/>
              <a:gd name="connsiteX63" fmla="*/ 2649648 w 5545537"/>
              <a:gd name="connsiteY63" fmla="*/ 1048672 h 6876000"/>
              <a:gd name="connsiteX64" fmla="*/ 2649648 w 5545537"/>
              <a:gd name="connsiteY64" fmla="*/ 1043268 h 6876000"/>
              <a:gd name="connsiteX65" fmla="*/ 2689899 w 5545537"/>
              <a:gd name="connsiteY65" fmla="*/ 1039210 h 6876000"/>
              <a:gd name="connsiteX66" fmla="*/ 2689899 w 5545537"/>
              <a:gd name="connsiteY66" fmla="*/ 1038672 h 6876000"/>
              <a:gd name="connsiteX67" fmla="*/ 2635893 w 5545537"/>
              <a:gd name="connsiteY67" fmla="*/ 1044116 h 6876000"/>
              <a:gd name="connsiteX68" fmla="*/ 2113835 w 5545537"/>
              <a:gd name="connsiteY68" fmla="*/ 522058 h 6876000"/>
              <a:gd name="connsiteX69" fmla="*/ 2635893 w 5545537"/>
              <a:gd name="connsiteY69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76000 h 6876000"/>
              <a:gd name="connsiteX15" fmla="*/ 2649648 w 5545537"/>
              <a:gd name="connsiteY15" fmla="*/ 6858537 h 6876000"/>
              <a:gd name="connsiteX16" fmla="*/ 2617891 w 5545537"/>
              <a:gd name="connsiteY16" fmla="*/ 6858537 h 6876000"/>
              <a:gd name="connsiteX17" fmla="*/ 2617891 w 5545537"/>
              <a:gd name="connsiteY17" fmla="*/ 6876000 h 6876000"/>
              <a:gd name="connsiteX18" fmla="*/ 1609779 w 5545537"/>
              <a:gd name="connsiteY18" fmla="*/ 6876000 h 6876000"/>
              <a:gd name="connsiteX19" fmla="*/ 1609779 w 5545537"/>
              <a:gd name="connsiteY19" fmla="*/ 6858537 h 6876000"/>
              <a:gd name="connsiteX20" fmla="*/ 1069719 w 5545537"/>
              <a:gd name="connsiteY20" fmla="*/ 6858537 h 6876000"/>
              <a:gd name="connsiteX21" fmla="*/ 1069719 w 5545537"/>
              <a:gd name="connsiteY21" fmla="*/ 6318334 h 6876000"/>
              <a:gd name="connsiteX22" fmla="*/ 1069720 w 5545537"/>
              <a:gd name="connsiteY22" fmla="*/ 6318321 h 6876000"/>
              <a:gd name="connsiteX23" fmla="*/ 1069719 w 5545537"/>
              <a:gd name="connsiteY23" fmla="*/ 6318310 h 6876000"/>
              <a:gd name="connsiteX24" fmla="*/ 1069719 w 5545537"/>
              <a:gd name="connsiteY24" fmla="*/ 6237825 h 6876000"/>
              <a:gd name="connsiteX25" fmla="*/ 1062618 w 5545537"/>
              <a:gd name="connsiteY25" fmla="*/ 6237825 h 6876000"/>
              <a:gd name="connsiteX26" fmla="*/ 1061010 w 5545537"/>
              <a:gd name="connsiteY26" fmla="*/ 6219603 h 6876000"/>
              <a:gd name="connsiteX27" fmla="*/ 624433 w 5545537"/>
              <a:gd name="connsiteY27" fmla="*/ 5771972 h 6876000"/>
              <a:gd name="connsiteX28" fmla="*/ 529659 w 5545537"/>
              <a:gd name="connsiteY28" fmla="*/ 5762418 h 6876000"/>
              <a:gd name="connsiteX29" fmla="*/ 529659 w 5545537"/>
              <a:gd name="connsiteY29" fmla="*/ 5760642 h 6876000"/>
              <a:gd name="connsiteX30" fmla="*/ 512040 w 5545537"/>
              <a:gd name="connsiteY30" fmla="*/ 5760642 h 6876000"/>
              <a:gd name="connsiteX31" fmla="*/ 512040 w 5545537"/>
              <a:gd name="connsiteY31" fmla="*/ 5743975 h 6876000"/>
              <a:gd name="connsiteX32" fmla="*/ 426816 w 5545537"/>
              <a:gd name="connsiteY32" fmla="*/ 5735384 h 6876000"/>
              <a:gd name="connsiteX33" fmla="*/ 9971 w 5545537"/>
              <a:gd name="connsiteY33" fmla="*/ 5223932 h 6876000"/>
              <a:gd name="connsiteX34" fmla="*/ 426816 w 5545537"/>
              <a:gd name="connsiteY34" fmla="*/ 4712481 h 6876000"/>
              <a:gd name="connsiteX35" fmla="*/ 512040 w 5545537"/>
              <a:gd name="connsiteY35" fmla="*/ 4703889 h 6876000"/>
              <a:gd name="connsiteX36" fmla="*/ 512040 w 5545537"/>
              <a:gd name="connsiteY36" fmla="*/ 4703511 h 6876000"/>
              <a:gd name="connsiteX37" fmla="*/ 423086 w 5545537"/>
              <a:gd name="connsiteY37" fmla="*/ 4694544 h 6876000"/>
              <a:gd name="connsiteX38" fmla="*/ 0 w 5545537"/>
              <a:gd name="connsiteY38" fmla="*/ 4175435 h 6876000"/>
              <a:gd name="connsiteX39" fmla="*/ 529874 w 5545537"/>
              <a:gd name="connsiteY39" fmla="*/ 3645561 h 6876000"/>
              <a:gd name="connsiteX40" fmla="*/ 1048983 w 5545537"/>
              <a:gd name="connsiteY40" fmla="*/ 4068647 h 6876000"/>
              <a:gd name="connsiteX41" fmla="*/ 1057146 w 5545537"/>
              <a:gd name="connsiteY41" fmla="*/ 4149617 h 6876000"/>
              <a:gd name="connsiteX42" fmla="*/ 1066307 w 5545537"/>
              <a:gd name="connsiteY42" fmla="*/ 4347509 h 6876000"/>
              <a:gd name="connsiteX43" fmla="*/ 1069719 w 5545537"/>
              <a:gd name="connsiteY43" fmla="*/ 4620012 h 6876000"/>
              <a:gd name="connsiteX44" fmla="*/ 1095113 w 5545537"/>
              <a:gd name="connsiteY44" fmla="*/ 4538207 h 6876000"/>
              <a:gd name="connsiteX45" fmla="*/ 1576145 w 5545537"/>
              <a:gd name="connsiteY45" fmla="*/ 4219357 h 6876000"/>
              <a:gd name="connsiteX46" fmla="*/ 1609779 w 5545537"/>
              <a:gd name="connsiteY46" fmla="*/ 4222748 h 6876000"/>
              <a:gd name="connsiteX47" fmla="*/ 1609779 w 5545537"/>
              <a:gd name="connsiteY47" fmla="*/ 4205666 h 6876000"/>
              <a:gd name="connsiteX48" fmla="*/ 1577115 w 5545537"/>
              <a:gd name="connsiteY48" fmla="*/ 4208959 h 6876000"/>
              <a:gd name="connsiteX49" fmla="*/ 1055057 w 5545537"/>
              <a:gd name="connsiteY49" fmla="*/ 3686901 h 6876000"/>
              <a:gd name="connsiteX50" fmla="*/ 1577115 w 5545537"/>
              <a:gd name="connsiteY50" fmla="*/ 3164843 h 6876000"/>
              <a:gd name="connsiteX51" fmla="*/ 2088567 w 5545537"/>
              <a:gd name="connsiteY51" fmla="*/ 3581688 h 6876000"/>
              <a:gd name="connsiteX52" fmla="*/ 2098635 w 5545537"/>
              <a:gd name="connsiteY52" fmla="*/ 3681565 h 6876000"/>
              <a:gd name="connsiteX53" fmla="*/ 2113837 w 5545537"/>
              <a:gd name="connsiteY53" fmla="*/ 3681565 h 6876000"/>
              <a:gd name="connsiteX54" fmla="*/ 2113837 w 5545537"/>
              <a:gd name="connsiteY54" fmla="*/ 2637449 h 6876000"/>
              <a:gd name="connsiteX55" fmla="*/ 2114775 w 5545537"/>
              <a:gd name="connsiteY55" fmla="*/ 2637449 h 6876000"/>
              <a:gd name="connsiteX56" fmla="*/ 2113835 w 5545537"/>
              <a:gd name="connsiteY56" fmla="*/ 2628122 h 6876000"/>
              <a:gd name="connsiteX57" fmla="*/ 2635893 w 5545537"/>
              <a:gd name="connsiteY57" fmla="*/ 2106064 h 6876000"/>
              <a:gd name="connsiteX58" fmla="*/ 2649648 w 5545537"/>
              <a:gd name="connsiteY58" fmla="*/ 2107451 h 6876000"/>
              <a:gd name="connsiteX59" fmla="*/ 2649648 w 5545537"/>
              <a:gd name="connsiteY59" fmla="*/ 2090015 h 6876000"/>
              <a:gd name="connsiteX60" fmla="*/ 2635894 w 5545537"/>
              <a:gd name="connsiteY60" fmla="*/ 2091401 h 6876000"/>
              <a:gd name="connsiteX61" fmla="*/ 2113836 w 5545537"/>
              <a:gd name="connsiteY61" fmla="*/ 1569343 h 6876000"/>
              <a:gd name="connsiteX62" fmla="*/ 2635894 w 5545537"/>
              <a:gd name="connsiteY62" fmla="*/ 1047285 h 6876000"/>
              <a:gd name="connsiteX63" fmla="*/ 2649648 w 5545537"/>
              <a:gd name="connsiteY63" fmla="*/ 1048672 h 6876000"/>
              <a:gd name="connsiteX64" fmla="*/ 2649648 w 5545537"/>
              <a:gd name="connsiteY64" fmla="*/ 1043268 h 6876000"/>
              <a:gd name="connsiteX65" fmla="*/ 2689899 w 5545537"/>
              <a:gd name="connsiteY65" fmla="*/ 1039210 h 6876000"/>
              <a:gd name="connsiteX66" fmla="*/ 2689899 w 5545537"/>
              <a:gd name="connsiteY66" fmla="*/ 1038672 h 6876000"/>
              <a:gd name="connsiteX67" fmla="*/ 2635893 w 5545537"/>
              <a:gd name="connsiteY67" fmla="*/ 1044116 h 6876000"/>
              <a:gd name="connsiteX68" fmla="*/ 2113835 w 5545537"/>
              <a:gd name="connsiteY68" fmla="*/ 522058 h 6876000"/>
              <a:gd name="connsiteX69" fmla="*/ 2635893 w 5545537"/>
              <a:gd name="connsiteY69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76000 h 6876000"/>
              <a:gd name="connsiteX15" fmla="*/ 2649648 w 5545537"/>
              <a:gd name="connsiteY15" fmla="*/ 6858537 h 6876000"/>
              <a:gd name="connsiteX16" fmla="*/ 2617891 w 5545537"/>
              <a:gd name="connsiteY16" fmla="*/ 6858537 h 6876000"/>
              <a:gd name="connsiteX17" fmla="*/ 2617891 w 5545537"/>
              <a:gd name="connsiteY17" fmla="*/ 6876000 h 6876000"/>
              <a:gd name="connsiteX18" fmla="*/ 1609779 w 5545537"/>
              <a:gd name="connsiteY18" fmla="*/ 6876000 h 6876000"/>
              <a:gd name="connsiteX19" fmla="*/ 1609779 w 5545537"/>
              <a:gd name="connsiteY19" fmla="*/ 6858537 h 6876000"/>
              <a:gd name="connsiteX20" fmla="*/ 1069719 w 5545537"/>
              <a:gd name="connsiteY20" fmla="*/ 6858537 h 6876000"/>
              <a:gd name="connsiteX21" fmla="*/ 1069719 w 5545537"/>
              <a:gd name="connsiteY21" fmla="*/ 6318334 h 6876000"/>
              <a:gd name="connsiteX22" fmla="*/ 1069720 w 5545537"/>
              <a:gd name="connsiteY22" fmla="*/ 6318321 h 6876000"/>
              <a:gd name="connsiteX23" fmla="*/ 1069719 w 5545537"/>
              <a:gd name="connsiteY23" fmla="*/ 6318310 h 6876000"/>
              <a:gd name="connsiteX24" fmla="*/ 1069719 w 5545537"/>
              <a:gd name="connsiteY24" fmla="*/ 6237825 h 6876000"/>
              <a:gd name="connsiteX25" fmla="*/ 1062618 w 5545537"/>
              <a:gd name="connsiteY25" fmla="*/ 6237825 h 6876000"/>
              <a:gd name="connsiteX26" fmla="*/ 1061010 w 5545537"/>
              <a:gd name="connsiteY26" fmla="*/ 6219603 h 6876000"/>
              <a:gd name="connsiteX27" fmla="*/ 624433 w 5545537"/>
              <a:gd name="connsiteY27" fmla="*/ 5771972 h 6876000"/>
              <a:gd name="connsiteX28" fmla="*/ 529659 w 5545537"/>
              <a:gd name="connsiteY28" fmla="*/ 5762418 h 6876000"/>
              <a:gd name="connsiteX29" fmla="*/ 529659 w 5545537"/>
              <a:gd name="connsiteY29" fmla="*/ 5760642 h 6876000"/>
              <a:gd name="connsiteX30" fmla="*/ 512040 w 5545537"/>
              <a:gd name="connsiteY30" fmla="*/ 5760642 h 6876000"/>
              <a:gd name="connsiteX31" fmla="*/ 512040 w 5545537"/>
              <a:gd name="connsiteY31" fmla="*/ 5743975 h 6876000"/>
              <a:gd name="connsiteX32" fmla="*/ 426816 w 5545537"/>
              <a:gd name="connsiteY32" fmla="*/ 5735384 h 6876000"/>
              <a:gd name="connsiteX33" fmla="*/ 9971 w 5545537"/>
              <a:gd name="connsiteY33" fmla="*/ 5223932 h 6876000"/>
              <a:gd name="connsiteX34" fmla="*/ 426816 w 5545537"/>
              <a:gd name="connsiteY34" fmla="*/ 4712481 h 6876000"/>
              <a:gd name="connsiteX35" fmla="*/ 512040 w 5545537"/>
              <a:gd name="connsiteY35" fmla="*/ 4703889 h 6876000"/>
              <a:gd name="connsiteX36" fmla="*/ 512040 w 5545537"/>
              <a:gd name="connsiteY36" fmla="*/ 4703511 h 6876000"/>
              <a:gd name="connsiteX37" fmla="*/ 423086 w 5545537"/>
              <a:gd name="connsiteY37" fmla="*/ 4694544 h 6876000"/>
              <a:gd name="connsiteX38" fmla="*/ 0 w 5545537"/>
              <a:gd name="connsiteY38" fmla="*/ 4175435 h 6876000"/>
              <a:gd name="connsiteX39" fmla="*/ 529874 w 5545537"/>
              <a:gd name="connsiteY39" fmla="*/ 3645561 h 6876000"/>
              <a:gd name="connsiteX40" fmla="*/ 1048983 w 5545537"/>
              <a:gd name="connsiteY40" fmla="*/ 4068647 h 6876000"/>
              <a:gd name="connsiteX41" fmla="*/ 1057146 w 5545537"/>
              <a:gd name="connsiteY41" fmla="*/ 4149617 h 6876000"/>
              <a:gd name="connsiteX42" fmla="*/ 1066307 w 5545537"/>
              <a:gd name="connsiteY42" fmla="*/ 4347509 h 6876000"/>
              <a:gd name="connsiteX43" fmla="*/ 1069719 w 5545537"/>
              <a:gd name="connsiteY43" fmla="*/ 4620012 h 6876000"/>
              <a:gd name="connsiteX44" fmla="*/ 1095113 w 5545537"/>
              <a:gd name="connsiteY44" fmla="*/ 4538207 h 6876000"/>
              <a:gd name="connsiteX45" fmla="*/ 1576145 w 5545537"/>
              <a:gd name="connsiteY45" fmla="*/ 4219357 h 6876000"/>
              <a:gd name="connsiteX46" fmla="*/ 1609779 w 5545537"/>
              <a:gd name="connsiteY46" fmla="*/ 4222748 h 6876000"/>
              <a:gd name="connsiteX47" fmla="*/ 1609779 w 5545537"/>
              <a:gd name="connsiteY47" fmla="*/ 4205666 h 6876000"/>
              <a:gd name="connsiteX48" fmla="*/ 1577115 w 5545537"/>
              <a:gd name="connsiteY48" fmla="*/ 4208959 h 6876000"/>
              <a:gd name="connsiteX49" fmla="*/ 1055057 w 5545537"/>
              <a:gd name="connsiteY49" fmla="*/ 3686901 h 6876000"/>
              <a:gd name="connsiteX50" fmla="*/ 1577115 w 5545537"/>
              <a:gd name="connsiteY50" fmla="*/ 3164843 h 6876000"/>
              <a:gd name="connsiteX51" fmla="*/ 2088567 w 5545537"/>
              <a:gd name="connsiteY51" fmla="*/ 3581688 h 6876000"/>
              <a:gd name="connsiteX52" fmla="*/ 2098635 w 5545537"/>
              <a:gd name="connsiteY52" fmla="*/ 3681565 h 6876000"/>
              <a:gd name="connsiteX53" fmla="*/ 2113837 w 5545537"/>
              <a:gd name="connsiteY53" fmla="*/ 3681565 h 6876000"/>
              <a:gd name="connsiteX54" fmla="*/ 2113837 w 5545537"/>
              <a:gd name="connsiteY54" fmla="*/ 2637449 h 6876000"/>
              <a:gd name="connsiteX55" fmla="*/ 2114775 w 5545537"/>
              <a:gd name="connsiteY55" fmla="*/ 2637449 h 6876000"/>
              <a:gd name="connsiteX56" fmla="*/ 2113835 w 5545537"/>
              <a:gd name="connsiteY56" fmla="*/ 2628122 h 6876000"/>
              <a:gd name="connsiteX57" fmla="*/ 2635893 w 5545537"/>
              <a:gd name="connsiteY57" fmla="*/ 2106064 h 6876000"/>
              <a:gd name="connsiteX58" fmla="*/ 2649648 w 5545537"/>
              <a:gd name="connsiteY58" fmla="*/ 2107451 h 6876000"/>
              <a:gd name="connsiteX59" fmla="*/ 2649648 w 5545537"/>
              <a:gd name="connsiteY59" fmla="*/ 2090015 h 6876000"/>
              <a:gd name="connsiteX60" fmla="*/ 2635894 w 5545537"/>
              <a:gd name="connsiteY60" fmla="*/ 2091401 h 6876000"/>
              <a:gd name="connsiteX61" fmla="*/ 2113836 w 5545537"/>
              <a:gd name="connsiteY61" fmla="*/ 1569343 h 6876000"/>
              <a:gd name="connsiteX62" fmla="*/ 2635894 w 5545537"/>
              <a:gd name="connsiteY62" fmla="*/ 1047285 h 6876000"/>
              <a:gd name="connsiteX63" fmla="*/ 2649648 w 5545537"/>
              <a:gd name="connsiteY63" fmla="*/ 1048672 h 6876000"/>
              <a:gd name="connsiteX64" fmla="*/ 2649648 w 5545537"/>
              <a:gd name="connsiteY64" fmla="*/ 1043268 h 6876000"/>
              <a:gd name="connsiteX65" fmla="*/ 2689899 w 5545537"/>
              <a:gd name="connsiteY65" fmla="*/ 1039210 h 6876000"/>
              <a:gd name="connsiteX66" fmla="*/ 2689899 w 5545537"/>
              <a:gd name="connsiteY66" fmla="*/ 1038672 h 6876000"/>
              <a:gd name="connsiteX67" fmla="*/ 2635893 w 5545537"/>
              <a:gd name="connsiteY67" fmla="*/ 1044116 h 6876000"/>
              <a:gd name="connsiteX68" fmla="*/ 2113835 w 5545537"/>
              <a:gd name="connsiteY68" fmla="*/ 522058 h 6876000"/>
              <a:gd name="connsiteX69" fmla="*/ 2635893 w 5545537"/>
              <a:gd name="connsiteY69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76000 h 6876000"/>
              <a:gd name="connsiteX15" fmla="*/ 2649648 w 5545537"/>
              <a:gd name="connsiteY15" fmla="*/ 6858537 h 6876000"/>
              <a:gd name="connsiteX16" fmla="*/ 2617891 w 5545537"/>
              <a:gd name="connsiteY16" fmla="*/ 6858537 h 6876000"/>
              <a:gd name="connsiteX17" fmla="*/ 2617891 w 5545537"/>
              <a:gd name="connsiteY17" fmla="*/ 6876000 h 6876000"/>
              <a:gd name="connsiteX18" fmla="*/ 1609779 w 5545537"/>
              <a:gd name="connsiteY18" fmla="*/ 6858537 h 6876000"/>
              <a:gd name="connsiteX19" fmla="*/ 1069719 w 5545537"/>
              <a:gd name="connsiteY19" fmla="*/ 6858537 h 6876000"/>
              <a:gd name="connsiteX20" fmla="*/ 1069719 w 5545537"/>
              <a:gd name="connsiteY20" fmla="*/ 6318334 h 6876000"/>
              <a:gd name="connsiteX21" fmla="*/ 1069720 w 5545537"/>
              <a:gd name="connsiteY21" fmla="*/ 6318321 h 6876000"/>
              <a:gd name="connsiteX22" fmla="*/ 1069719 w 5545537"/>
              <a:gd name="connsiteY22" fmla="*/ 6318310 h 6876000"/>
              <a:gd name="connsiteX23" fmla="*/ 1069719 w 5545537"/>
              <a:gd name="connsiteY23" fmla="*/ 6237825 h 6876000"/>
              <a:gd name="connsiteX24" fmla="*/ 1062618 w 5545537"/>
              <a:gd name="connsiteY24" fmla="*/ 6237825 h 6876000"/>
              <a:gd name="connsiteX25" fmla="*/ 1061010 w 5545537"/>
              <a:gd name="connsiteY25" fmla="*/ 6219603 h 6876000"/>
              <a:gd name="connsiteX26" fmla="*/ 624433 w 5545537"/>
              <a:gd name="connsiteY26" fmla="*/ 5771972 h 6876000"/>
              <a:gd name="connsiteX27" fmla="*/ 529659 w 5545537"/>
              <a:gd name="connsiteY27" fmla="*/ 5762418 h 6876000"/>
              <a:gd name="connsiteX28" fmla="*/ 529659 w 5545537"/>
              <a:gd name="connsiteY28" fmla="*/ 5760642 h 6876000"/>
              <a:gd name="connsiteX29" fmla="*/ 512040 w 5545537"/>
              <a:gd name="connsiteY29" fmla="*/ 5760642 h 6876000"/>
              <a:gd name="connsiteX30" fmla="*/ 512040 w 5545537"/>
              <a:gd name="connsiteY30" fmla="*/ 5743975 h 6876000"/>
              <a:gd name="connsiteX31" fmla="*/ 426816 w 5545537"/>
              <a:gd name="connsiteY31" fmla="*/ 5735384 h 6876000"/>
              <a:gd name="connsiteX32" fmla="*/ 9971 w 5545537"/>
              <a:gd name="connsiteY32" fmla="*/ 5223932 h 6876000"/>
              <a:gd name="connsiteX33" fmla="*/ 426816 w 5545537"/>
              <a:gd name="connsiteY33" fmla="*/ 4712481 h 6876000"/>
              <a:gd name="connsiteX34" fmla="*/ 512040 w 5545537"/>
              <a:gd name="connsiteY34" fmla="*/ 4703889 h 6876000"/>
              <a:gd name="connsiteX35" fmla="*/ 512040 w 5545537"/>
              <a:gd name="connsiteY35" fmla="*/ 4703511 h 6876000"/>
              <a:gd name="connsiteX36" fmla="*/ 423086 w 5545537"/>
              <a:gd name="connsiteY36" fmla="*/ 4694544 h 6876000"/>
              <a:gd name="connsiteX37" fmla="*/ 0 w 5545537"/>
              <a:gd name="connsiteY37" fmla="*/ 4175435 h 6876000"/>
              <a:gd name="connsiteX38" fmla="*/ 529874 w 5545537"/>
              <a:gd name="connsiteY38" fmla="*/ 3645561 h 6876000"/>
              <a:gd name="connsiteX39" fmla="*/ 1048983 w 5545537"/>
              <a:gd name="connsiteY39" fmla="*/ 4068647 h 6876000"/>
              <a:gd name="connsiteX40" fmla="*/ 1057146 w 5545537"/>
              <a:gd name="connsiteY40" fmla="*/ 4149617 h 6876000"/>
              <a:gd name="connsiteX41" fmla="*/ 1066307 w 5545537"/>
              <a:gd name="connsiteY41" fmla="*/ 4347509 h 6876000"/>
              <a:gd name="connsiteX42" fmla="*/ 1069719 w 5545537"/>
              <a:gd name="connsiteY42" fmla="*/ 4620012 h 6876000"/>
              <a:gd name="connsiteX43" fmla="*/ 1095113 w 5545537"/>
              <a:gd name="connsiteY43" fmla="*/ 4538207 h 6876000"/>
              <a:gd name="connsiteX44" fmla="*/ 1576145 w 5545537"/>
              <a:gd name="connsiteY44" fmla="*/ 4219357 h 6876000"/>
              <a:gd name="connsiteX45" fmla="*/ 1609779 w 5545537"/>
              <a:gd name="connsiteY45" fmla="*/ 4222748 h 6876000"/>
              <a:gd name="connsiteX46" fmla="*/ 1609779 w 5545537"/>
              <a:gd name="connsiteY46" fmla="*/ 4205666 h 6876000"/>
              <a:gd name="connsiteX47" fmla="*/ 1577115 w 5545537"/>
              <a:gd name="connsiteY47" fmla="*/ 4208959 h 6876000"/>
              <a:gd name="connsiteX48" fmla="*/ 1055057 w 5545537"/>
              <a:gd name="connsiteY48" fmla="*/ 3686901 h 6876000"/>
              <a:gd name="connsiteX49" fmla="*/ 1577115 w 5545537"/>
              <a:gd name="connsiteY49" fmla="*/ 3164843 h 6876000"/>
              <a:gd name="connsiteX50" fmla="*/ 2088567 w 5545537"/>
              <a:gd name="connsiteY50" fmla="*/ 3581688 h 6876000"/>
              <a:gd name="connsiteX51" fmla="*/ 2098635 w 5545537"/>
              <a:gd name="connsiteY51" fmla="*/ 3681565 h 6876000"/>
              <a:gd name="connsiteX52" fmla="*/ 2113837 w 5545537"/>
              <a:gd name="connsiteY52" fmla="*/ 3681565 h 6876000"/>
              <a:gd name="connsiteX53" fmla="*/ 2113837 w 5545537"/>
              <a:gd name="connsiteY53" fmla="*/ 2637449 h 6876000"/>
              <a:gd name="connsiteX54" fmla="*/ 2114775 w 5545537"/>
              <a:gd name="connsiteY54" fmla="*/ 2637449 h 6876000"/>
              <a:gd name="connsiteX55" fmla="*/ 2113835 w 5545537"/>
              <a:gd name="connsiteY55" fmla="*/ 2628122 h 6876000"/>
              <a:gd name="connsiteX56" fmla="*/ 2635893 w 5545537"/>
              <a:gd name="connsiteY56" fmla="*/ 2106064 h 6876000"/>
              <a:gd name="connsiteX57" fmla="*/ 2649648 w 5545537"/>
              <a:gd name="connsiteY57" fmla="*/ 2107451 h 6876000"/>
              <a:gd name="connsiteX58" fmla="*/ 2649648 w 5545537"/>
              <a:gd name="connsiteY58" fmla="*/ 2090015 h 6876000"/>
              <a:gd name="connsiteX59" fmla="*/ 2635894 w 5545537"/>
              <a:gd name="connsiteY59" fmla="*/ 2091401 h 6876000"/>
              <a:gd name="connsiteX60" fmla="*/ 2113836 w 5545537"/>
              <a:gd name="connsiteY60" fmla="*/ 1569343 h 6876000"/>
              <a:gd name="connsiteX61" fmla="*/ 2635894 w 5545537"/>
              <a:gd name="connsiteY61" fmla="*/ 1047285 h 6876000"/>
              <a:gd name="connsiteX62" fmla="*/ 2649648 w 5545537"/>
              <a:gd name="connsiteY62" fmla="*/ 1048672 h 6876000"/>
              <a:gd name="connsiteX63" fmla="*/ 2649648 w 5545537"/>
              <a:gd name="connsiteY63" fmla="*/ 1043268 h 6876000"/>
              <a:gd name="connsiteX64" fmla="*/ 2689899 w 5545537"/>
              <a:gd name="connsiteY64" fmla="*/ 1039210 h 6876000"/>
              <a:gd name="connsiteX65" fmla="*/ 2689899 w 5545537"/>
              <a:gd name="connsiteY65" fmla="*/ 1038672 h 6876000"/>
              <a:gd name="connsiteX66" fmla="*/ 2635893 w 5545537"/>
              <a:gd name="connsiteY66" fmla="*/ 1044116 h 6876000"/>
              <a:gd name="connsiteX67" fmla="*/ 2113835 w 5545537"/>
              <a:gd name="connsiteY67" fmla="*/ 522058 h 6876000"/>
              <a:gd name="connsiteX68" fmla="*/ 2635893 w 5545537"/>
              <a:gd name="connsiteY68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76000 h 6876000"/>
              <a:gd name="connsiteX15" fmla="*/ 2649648 w 5545537"/>
              <a:gd name="connsiteY15" fmla="*/ 6858537 h 6876000"/>
              <a:gd name="connsiteX16" fmla="*/ 2617891 w 5545537"/>
              <a:gd name="connsiteY16" fmla="*/ 6858537 h 6876000"/>
              <a:gd name="connsiteX17" fmla="*/ 1609779 w 5545537"/>
              <a:gd name="connsiteY17" fmla="*/ 6858537 h 6876000"/>
              <a:gd name="connsiteX18" fmla="*/ 1069719 w 5545537"/>
              <a:gd name="connsiteY18" fmla="*/ 6858537 h 6876000"/>
              <a:gd name="connsiteX19" fmla="*/ 1069719 w 5545537"/>
              <a:gd name="connsiteY19" fmla="*/ 6318334 h 6876000"/>
              <a:gd name="connsiteX20" fmla="*/ 1069720 w 5545537"/>
              <a:gd name="connsiteY20" fmla="*/ 6318321 h 6876000"/>
              <a:gd name="connsiteX21" fmla="*/ 1069719 w 5545537"/>
              <a:gd name="connsiteY21" fmla="*/ 6318310 h 6876000"/>
              <a:gd name="connsiteX22" fmla="*/ 1069719 w 5545537"/>
              <a:gd name="connsiteY22" fmla="*/ 6237825 h 6876000"/>
              <a:gd name="connsiteX23" fmla="*/ 1062618 w 5545537"/>
              <a:gd name="connsiteY23" fmla="*/ 6237825 h 6876000"/>
              <a:gd name="connsiteX24" fmla="*/ 1061010 w 5545537"/>
              <a:gd name="connsiteY24" fmla="*/ 6219603 h 6876000"/>
              <a:gd name="connsiteX25" fmla="*/ 624433 w 5545537"/>
              <a:gd name="connsiteY25" fmla="*/ 5771972 h 6876000"/>
              <a:gd name="connsiteX26" fmla="*/ 529659 w 5545537"/>
              <a:gd name="connsiteY26" fmla="*/ 5762418 h 6876000"/>
              <a:gd name="connsiteX27" fmla="*/ 529659 w 5545537"/>
              <a:gd name="connsiteY27" fmla="*/ 5760642 h 6876000"/>
              <a:gd name="connsiteX28" fmla="*/ 512040 w 5545537"/>
              <a:gd name="connsiteY28" fmla="*/ 5760642 h 6876000"/>
              <a:gd name="connsiteX29" fmla="*/ 512040 w 5545537"/>
              <a:gd name="connsiteY29" fmla="*/ 5743975 h 6876000"/>
              <a:gd name="connsiteX30" fmla="*/ 426816 w 5545537"/>
              <a:gd name="connsiteY30" fmla="*/ 5735384 h 6876000"/>
              <a:gd name="connsiteX31" fmla="*/ 9971 w 5545537"/>
              <a:gd name="connsiteY31" fmla="*/ 5223932 h 6876000"/>
              <a:gd name="connsiteX32" fmla="*/ 426816 w 5545537"/>
              <a:gd name="connsiteY32" fmla="*/ 4712481 h 6876000"/>
              <a:gd name="connsiteX33" fmla="*/ 512040 w 5545537"/>
              <a:gd name="connsiteY33" fmla="*/ 4703889 h 6876000"/>
              <a:gd name="connsiteX34" fmla="*/ 512040 w 5545537"/>
              <a:gd name="connsiteY34" fmla="*/ 4703511 h 6876000"/>
              <a:gd name="connsiteX35" fmla="*/ 423086 w 5545537"/>
              <a:gd name="connsiteY35" fmla="*/ 4694544 h 6876000"/>
              <a:gd name="connsiteX36" fmla="*/ 0 w 5545537"/>
              <a:gd name="connsiteY36" fmla="*/ 4175435 h 6876000"/>
              <a:gd name="connsiteX37" fmla="*/ 529874 w 5545537"/>
              <a:gd name="connsiteY37" fmla="*/ 3645561 h 6876000"/>
              <a:gd name="connsiteX38" fmla="*/ 1048983 w 5545537"/>
              <a:gd name="connsiteY38" fmla="*/ 4068647 h 6876000"/>
              <a:gd name="connsiteX39" fmla="*/ 1057146 w 5545537"/>
              <a:gd name="connsiteY39" fmla="*/ 4149617 h 6876000"/>
              <a:gd name="connsiteX40" fmla="*/ 1066307 w 5545537"/>
              <a:gd name="connsiteY40" fmla="*/ 4347509 h 6876000"/>
              <a:gd name="connsiteX41" fmla="*/ 1069719 w 5545537"/>
              <a:gd name="connsiteY41" fmla="*/ 4620012 h 6876000"/>
              <a:gd name="connsiteX42" fmla="*/ 1095113 w 5545537"/>
              <a:gd name="connsiteY42" fmla="*/ 4538207 h 6876000"/>
              <a:gd name="connsiteX43" fmla="*/ 1576145 w 5545537"/>
              <a:gd name="connsiteY43" fmla="*/ 4219357 h 6876000"/>
              <a:gd name="connsiteX44" fmla="*/ 1609779 w 5545537"/>
              <a:gd name="connsiteY44" fmla="*/ 4222748 h 6876000"/>
              <a:gd name="connsiteX45" fmla="*/ 1609779 w 5545537"/>
              <a:gd name="connsiteY45" fmla="*/ 4205666 h 6876000"/>
              <a:gd name="connsiteX46" fmla="*/ 1577115 w 5545537"/>
              <a:gd name="connsiteY46" fmla="*/ 4208959 h 6876000"/>
              <a:gd name="connsiteX47" fmla="*/ 1055057 w 5545537"/>
              <a:gd name="connsiteY47" fmla="*/ 3686901 h 6876000"/>
              <a:gd name="connsiteX48" fmla="*/ 1577115 w 5545537"/>
              <a:gd name="connsiteY48" fmla="*/ 3164843 h 6876000"/>
              <a:gd name="connsiteX49" fmla="*/ 2088567 w 5545537"/>
              <a:gd name="connsiteY49" fmla="*/ 3581688 h 6876000"/>
              <a:gd name="connsiteX50" fmla="*/ 2098635 w 5545537"/>
              <a:gd name="connsiteY50" fmla="*/ 3681565 h 6876000"/>
              <a:gd name="connsiteX51" fmla="*/ 2113837 w 5545537"/>
              <a:gd name="connsiteY51" fmla="*/ 3681565 h 6876000"/>
              <a:gd name="connsiteX52" fmla="*/ 2113837 w 5545537"/>
              <a:gd name="connsiteY52" fmla="*/ 2637449 h 6876000"/>
              <a:gd name="connsiteX53" fmla="*/ 2114775 w 5545537"/>
              <a:gd name="connsiteY53" fmla="*/ 2637449 h 6876000"/>
              <a:gd name="connsiteX54" fmla="*/ 2113835 w 5545537"/>
              <a:gd name="connsiteY54" fmla="*/ 2628122 h 6876000"/>
              <a:gd name="connsiteX55" fmla="*/ 2635893 w 5545537"/>
              <a:gd name="connsiteY55" fmla="*/ 2106064 h 6876000"/>
              <a:gd name="connsiteX56" fmla="*/ 2649648 w 5545537"/>
              <a:gd name="connsiteY56" fmla="*/ 2107451 h 6876000"/>
              <a:gd name="connsiteX57" fmla="*/ 2649648 w 5545537"/>
              <a:gd name="connsiteY57" fmla="*/ 2090015 h 6876000"/>
              <a:gd name="connsiteX58" fmla="*/ 2635894 w 5545537"/>
              <a:gd name="connsiteY58" fmla="*/ 2091401 h 6876000"/>
              <a:gd name="connsiteX59" fmla="*/ 2113836 w 5545537"/>
              <a:gd name="connsiteY59" fmla="*/ 1569343 h 6876000"/>
              <a:gd name="connsiteX60" fmla="*/ 2635894 w 5545537"/>
              <a:gd name="connsiteY60" fmla="*/ 1047285 h 6876000"/>
              <a:gd name="connsiteX61" fmla="*/ 2649648 w 5545537"/>
              <a:gd name="connsiteY61" fmla="*/ 1048672 h 6876000"/>
              <a:gd name="connsiteX62" fmla="*/ 2649648 w 5545537"/>
              <a:gd name="connsiteY62" fmla="*/ 1043268 h 6876000"/>
              <a:gd name="connsiteX63" fmla="*/ 2689899 w 5545537"/>
              <a:gd name="connsiteY63" fmla="*/ 1039210 h 6876000"/>
              <a:gd name="connsiteX64" fmla="*/ 2689899 w 5545537"/>
              <a:gd name="connsiteY64" fmla="*/ 1038672 h 6876000"/>
              <a:gd name="connsiteX65" fmla="*/ 2635893 w 5545537"/>
              <a:gd name="connsiteY65" fmla="*/ 1044116 h 6876000"/>
              <a:gd name="connsiteX66" fmla="*/ 2113835 w 5545537"/>
              <a:gd name="connsiteY66" fmla="*/ 522058 h 6876000"/>
              <a:gd name="connsiteX67" fmla="*/ 2635893 w 5545537"/>
              <a:gd name="connsiteY67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9719 w 5545537"/>
              <a:gd name="connsiteY21" fmla="*/ 6237825 h 6876000"/>
              <a:gd name="connsiteX22" fmla="*/ 1062618 w 5545537"/>
              <a:gd name="connsiteY22" fmla="*/ 6237825 h 6876000"/>
              <a:gd name="connsiteX23" fmla="*/ 1061010 w 5545537"/>
              <a:gd name="connsiteY23" fmla="*/ 6219603 h 6876000"/>
              <a:gd name="connsiteX24" fmla="*/ 624433 w 5545537"/>
              <a:gd name="connsiteY24" fmla="*/ 5771972 h 6876000"/>
              <a:gd name="connsiteX25" fmla="*/ 529659 w 5545537"/>
              <a:gd name="connsiteY25" fmla="*/ 5762418 h 6876000"/>
              <a:gd name="connsiteX26" fmla="*/ 529659 w 5545537"/>
              <a:gd name="connsiteY26" fmla="*/ 5760642 h 6876000"/>
              <a:gd name="connsiteX27" fmla="*/ 512040 w 5545537"/>
              <a:gd name="connsiteY27" fmla="*/ 5760642 h 6876000"/>
              <a:gd name="connsiteX28" fmla="*/ 512040 w 5545537"/>
              <a:gd name="connsiteY28" fmla="*/ 5743975 h 6876000"/>
              <a:gd name="connsiteX29" fmla="*/ 426816 w 5545537"/>
              <a:gd name="connsiteY29" fmla="*/ 5735384 h 6876000"/>
              <a:gd name="connsiteX30" fmla="*/ 9971 w 5545537"/>
              <a:gd name="connsiteY30" fmla="*/ 5223932 h 6876000"/>
              <a:gd name="connsiteX31" fmla="*/ 426816 w 5545537"/>
              <a:gd name="connsiteY31" fmla="*/ 4712481 h 6876000"/>
              <a:gd name="connsiteX32" fmla="*/ 512040 w 5545537"/>
              <a:gd name="connsiteY32" fmla="*/ 4703889 h 6876000"/>
              <a:gd name="connsiteX33" fmla="*/ 512040 w 5545537"/>
              <a:gd name="connsiteY33" fmla="*/ 4703511 h 6876000"/>
              <a:gd name="connsiteX34" fmla="*/ 423086 w 5545537"/>
              <a:gd name="connsiteY34" fmla="*/ 4694544 h 6876000"/>
              <a:gd name="connsiteX35" fmla="*/ 0 w 5545537"/>
              <a:gd name="connsiteY35" fmla="*/ 4175435 h 6876000"/>
              <a:gd name="connsiteX36" fmla="*/ 529874 w 5545537"/>
              <a:gd name="connsiteY36" fmla="*/ 3645561 h 6876000"/>
              <a:gd name="connsiteX37" fmla="*/ 1048983 w 5545537"/>
              <a:gd name="connsiteY37" fmla="*/ 4068647 h 6876000"/>
              <a:gd name="connsiteX38" fmla="*/ 1057146 w 5545537"/>
              <a:gd name="connsiteY38" fmla="*/ 4149617 h 6876000"/>
              <a:gd name="connsiteX39" fmla="*/ 1066307 w 5545537"/>
              <a:gd name="connsiteY39" fmla="*/ 4347509 h 6876000"/>
              <a:gd name="connsiteX40" fmla="*/ 1069719 w 5545537"/>
              <a:gd name="connsiteY40" fmla="*/ 4620012 h 6876000"/>
              <a:gd name="connsiteX41" fmla="*/ 1095113 w 5545537"/>
              <a:gd name="connsiteY41" fmla="*/ 4538207 h 6876000"/>
              <a:gd name="connsiteX42" fmla="*/ 1576145 w 5545537"/>
              <a:gd name="connsiteY42" fmla="*/ 4219357 h 6876000"/>
              <a:gd name="connsiteX43" fmla="*/ 1609779 w 5545537"/>
              <a:gd name="connsiteY43" fmla="*/ 4222748 h 6876000"/>
              <a:gd name="connsiteX44" fmla="*/ 1609779 w 5545537"/>
              <a:gd name="connsiteY44" fmla="*/ 4205666 h 6876000"/>
              <a:gd name="connsiteX45" fmla="*/ 1577115 w 5545537"/>
              <a:gd name="connsiteY45" fmla="*/ 4208959 h 6876000"/>
              <a:gd name="connsiteX46" fmla="*/ 1055057 w 5545537"/>
              <a:gd name="connsiteY46" fmla="*/ 3686901 h 6876000"/>
              <a:gd name="connsiteX47" fmla="*/ 1577115 w 5545537"/>
              <a:gd name="connsiteY47" fmla="*/ 3164843 h 6876000"/>
              <a:gd name="connsiteX48" fmla="*/ 2088567 w 5545537"/>
              <a:gd name="connsiteY48" fmla="*/ 3581688 h 6876000"/>
              <a:gd name="connsiteX49" fmla="*/ 2098635 w 5545537"/>
              <a:gd name="connsiteY49" fmla="*/ 3681565 h 6876000"/>
              <a:gd name="connsiteX50" fmla="*/ 2113837 w 5545537"/>
              <a:gd name="connsiteY50" fmla="*/ 3681565 h 6876000"/>
              <a:gd name="connsiteX51" fmla="*/ 2113837 w 5545537"/>
              <a:gd name="connsiteY51" fmla="*/ 2637449 h 6876000"/>
              <a:gd name="connsiteX52" fmla="*/ 2114775 w 5545537"/>
              <a:gd name="connsiteY52" fmla="*/ 2637449 h 6876000"/>
              <a:gd name="connsiteX53" fmla="*/ 2113835 w 5545537"/>
              <a:gd name="connsiteY53" fmla="*/ 2628122 h 6876000"/>
              <a:gd name="connsiteX54" fmla="*/ 2635893 w 5545537"/>
              <a:gd name="connsiteY54" fmla="*/ 2106064 h 6876000"/>
              <a:gd name="connsiteX55" fmla="*/ 2649648 w 5545537"/>
              <a:gd name="connsiteY55" fmla="*/ 2107451 h 6876000"/>
              <a:gd name="connsiteX56" fmla="*/ 2649648 w 5545537"/>
              <a:gd name="connsiteY56" fmla="*/ 2090015 h 6876000"/>
              <a:gd name="connsiteX57" fmla="*/ 2635894 w 5545537"/>
              <a:gd name="connsiteY57" fmla="*/ 2091401 h 6876000"/>
              <a:gd name="connsiteX58" fmla="*/ 2113836 w 5545537"/>
              <a:gd name="connsiteY58" fmla="*/ 1569343 h 6876000"/>
              <a:gd name="connsiteX59" fmla="*/ 2635894 w 5545537"/>
              <a:gd name="connsiteY59" fmla="*/ 1047285 h 6876000"/>
              <a:gd name="connsiteX60" fmla="*/ 2649648 w 5545537"/>
              <a:gd name="connsiteY60" fmla="*/ 1048672 h 6876000"/>
              <a:gd name="connsiteX61" fmla="*/ 2649648 w 5545537"/>
              <a:gd name="connsiteY61" fmla="*/ 1043268 h 6876000"/>
              <a:gd name="connsiteX62" fmla="*/ 2689899 w 5545537"/>
              <a:gd name="connsiteY62" fmla="*/ 1039210 h 6876000"/>
              <a:gd name="connsiteX63" fmla="*/ 2689899 w 5545537"/>
              <a:gd name="connsiteY63" fmla="*/ 1038672 h 6876000"/>
              <a:gd name="connsiteX64" fmla="*/ 2635893 w 5545537"/>
              <a:gd name="connsiteY64" fmla="*/ 1044116 h 6876000"/>
              <a:gd name="connsiteX65" fmla="*/ 2113835 w 5545537"/>
              <a:gd name="connsiteY65" fmla="*/ 522058 h 6876000"/>
              <a:gd name="connsiteX66" fmla="*/ 2635893 w 5545537"/>
              <a:gd name="connsiteY66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9719 w 5545537"/>
              <a:gd name="connsiteY21" fmla="*/ 6237825 h 6876000"/>
              <a:gd name="connsiteX22" fmla="*/ 1061010 w 5545537"/>
              <a:gd name="connsiteY22" fmla="*/ 6219603 h 6876000"/>
              <a:gd name="connsiteX23" fmla="*/ 624433 w 5545537"/>
              <a:gd name="connsiteY23" fmla="*/ 5771972 h 6876000"/>
              <a:gd name="connsiteX24" fmla="*/ 529659 w 5545537"/>
              <a:gd name="connsiteY24" fmla="*/ 5762418 h 6876000"/>
              <a:gd name="connsiteX25" fmla="*/ 529659 w 5545537"/>
              <a:gd name="connsiteY25" fmla="*/ 5760642 h 6876000"/>
              <a:gd name="connsiteX26" fmla="*/ 512040 w 5545537"/>
              <a:gd name="connsiteY26" fmla="*/ 5760642 h 6876000"/>
              <a:gd name="connsiteX27" fmla="*/ 512040 w 5545537"/>
              <a:gd name="connsiteY27" fmla="*/ 5743975 h 6876000"/>
              <a:gd name="connsiteX28" fmla="*/ 426816 w 5545537"/>
              <a:gd name="connsiteY28" fmla="*/ 5735384 h 6876000"/>
              <a:gd name="connsiteX29" fmla="*/ 9971 w 5545537"/>
              <a:gd name="connsiteY29" fmla="*/ 5223932 h 6876000"/>
              <a:gd name="connsiteX30" fmla="*/ 426816 w 5545537"/>
              <a:gd name="connsiteY30" fmla="*/ 4712481 h 6876000"/>
              <a:gd name="connsiteX31" fmla="*/ 512040 w 5545537"/>
              <a:gd name="connsiteY31" fmla="*/ 4703889 h 6876000"/>
              <a:gd name="connsiteX32" fmla="*/ 512040 w 5545537"/>
              <a:gd name="connsiteY32" fmla="*/ 4703511 h 6876000"/>
              <a:gd name="connsiteX33" fmla="*/ 423086 w 5545537"/>
              <a:gd name="connsiteY33" fmla="*/ 4694544 h 6876000"/>
              <a:gd name="connsiteX34" fmla="*/ 0 w 5545537"/>
              <a:gd name="connsiteY34" fmla="*/ 4175435 h 6876000"/>
              <a:gd name="connsiteX35" fmla="*/ 529874 w 5545537"/>
              <a:gd name="connsiteY35" fmla="*/ 3645561 h 6876000"/>
              <a:gd name="connsiteX36" fmla="*/ 1048983 w 5545537"/>
              <a:gd name="connsiteY36" fmla="*/ 4068647 h 6876000"/>
              <a:gd name="connsiteX37" fmla="*/ 1057146 w 5545537"/>
              <a:gd name="connsiteY37" fmla="*/ 4149617 h 6876000"/>
              <a:gd name="connsiteX38" fmla="*/ 1066307 w 5545537"/>
              <a:gd name="connsiteY38" fmla="*/ 4347509 h 6876000"/>
              <a:gd name="connsiteX39" fmla="*/ 1069719 w 5545537"/>
              <a:gd name="connsiteY39" fmla="*/ 4620012 h 6876000"/>
              <a:gd name="connsiteX40" fmla="*/ 1095113 w 5545537"/>
              <a:gd name="connsiteY40" fmla="*/ 4538207 h 6876000"/>
              <a:gd name="connsiteX41" fmla="*/ 1576145 w 5545537"/>
              <a:gd name="connsiteY41" fmla="*/ 4219357 h 6876000"/>
              <a:gd name="connsiteX42" fmla="*/ 1609779 w 5545537"/>
              <a:gd name="connsiteY42" fmla="*/ 4222748 h 6876000"/>
              <a:gd name="connsiteX43" fmla="*/ 1609779 w 5545537"/>
              <a:gd name="connsiteY43" fmla="*/ 4205666 h 6876000"/>
              <a:gd name="connsiteX44" fmla="*/ 1577115 w 5545537"/>
              <a:gd name="connsiteY44" fmla="*/ 4208959 h 6876000"/>
              <a:gd name="connsiteX45" fmla="*/ 1055057 w 5545537"/>
              <a:gd name="connsiteY45" fmla="*/ 3686901 h 6876000"/>
              <a:gd name="connsiteX46" fmla="*/ 1577115 w 5545537"/>
              <a:gd name="connsiteY46" fmla="*/ 3164843 h 6876000"/>
              <a:gd name="connsiteX47" fmla="*/ 2088567 w 5545537"/>
              <a:gd name="connsiteY47" fmla="*/ 3581688 h 6876000"/>
              <a:gd name="connsiteX48" fmla="*/ 2098635 w 5545537"/>
              <a:gd name="connsiteY48" fmla="*/ 3681565 h 6876000"/>
              <a:gd name="connsiteX49" fmla="*/ 2113837 w 5545537"/>
              <a:gd name="connsiteY49" fmla="*/ 3681565 h 6876000"/>
              <a:gd name="connsiteX50" fmla="*/ 2113837 w 5545537"/>
              <a:gd name="connsiteY50" fmla="*/ 2637449 h 6876000"/>
              <a:gd name="connsiteX51" fmla="*/ 2114775 w 5545537"/>
              <a:gd name="connsiteY51" fmla="*/ 2637449 h 6876000"/>
              <a:gd name="connsiteX52" fmla="*/ 2113835 w 5545537"/>
              <a:gd name="connsiteY52" fmla="*/ 2628122 h 6876000"/>
              <a:gd name="connsiteX53" fmla="*/ 2635893 w 5545537"/>
              <a:gd name="connsiteY53" fmla="*/ 2106064 h 6876000"/>
              <a:gd name="connsiteX54" fmla="*/ 2649648 w 5545537"/>
              <a:gd name="connsiteY54" fmla="*/ 2107451 h 6876000"/>
              <a:gd name="connsiteX55" fmla="*/ 2649648 w 5545537"/>
              <a:gd name="connsiteY55" fmla="*/ 2090015 h 6876000"/>
              <a:gd name="connsiteX56" fmla="*/ 2635894 w 5545537"/>
              <a:gd name="connsiteY56" fmla="*/ 2091401 h 6876000"/>
              <a:gd name="connsiteX57" fmla="*/ 2113836 w 5545537"/>
              <a:gd name="connsiteY57" fmla="*/ 1569343 h 6876000"/>
              <a:gd name="connsiteX58" fmla="*/ 2635894 w 5545537"/>
              <a:gd name="connsiteY58" fmla="*/ 1047285 h 6876000"/>
              <a:gd name="connsiteX59" fmla="*/ 2649648 w 5545537"/>
              <a:gd name="connsiteY59" fmla="*/ 1048672 h 6876000"/>
              <a:gd name="connsiteX60" fmla="*/ 2649648 w 5545537"/>
              <a:gd name="connsiteY60" fmla="*/ 1043268 h 6876000"/>
              <a:gd name="connsiteX61" fmla="*/ 2689899 w 5545537"/>
              <a:gd name="connsiteY61" fmla="*/ 1039210 h 6876000"/>
              <a:gd name="connsiteX62" fmla="*/ 2689899 w 5545537"/>
              <a:gd name="connsiteY62" fmla="*/ 1038672 h 6876000"/>
              <a:gd name="connsiteX63" fmla="*/ 2635893 w 5545537"/>
              <a:gd name="connsiteY63" fmla="*/ 1044116 h 6876000"/>
              <a:gd name="connsiteX64" fmla="*/ 2113835 w 5545537"/>
              <a:gd name="connsiteY64" fmla="*/ 522058 h 6876000"/>
              <a:gd name="connsiteX65" fmla="*/ 2635893 w 5545537"/>
              <a:gd name="connsiteY65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9719 w 5545537"/>
              <a:gd name="connsiteY21" fmla="*/ 6237825 h 6876000"/>
              <a:gd name="connsiteX22" fmla="*/ 1061010 w 5545537"/>
              <a:gd name="connsiteY22" fmla="*/ 6219603 h 6876000"/>
              <a:gd name="connsiteX23" fmla="*/ 624433 w 5545537"/>
              <a:gd name="connsiteY23" fmla="*/ 5771972 h 6876000"/>
              <a:gd name="connsiteX24" fmla="*/ 529659 w 5545537"/>
              <a:gd name="connsiteY24" fmla="*/ 5762418 h 6876000"/>
              <a:gd name="connsiteX25" fmla="*/ 529659 w 5545537"/>
              <a:gd name="connsiteY25" fmla="*/ 5760642 h 6876000"/>
              <a:gd name="connsiteX26" fmla="*/ 512040 w 5545537"/>
              <a:gd name="connsiteY26" fmla="*/ 5760642 h 6876000"/>
              <a:gd name="connsiteX27" fmla="*/ 512040 w 5545537"/>
              <a:gd name="connsiteY27" fmla="*/ 5743975 h 6876000"/>
              <a:gd name="connsiteX28" fmla="*/ 426816 w 5545537"/>
              <a:gd name="connsiteY28" fmla="*/ 5735384 h 6876000"/>
              <a:gd name="connsiteX29" fmla="*/ 9971 w 5545537"/>
              <a:gd name="connsiteY29" fmla="*/ 5223932 h 6876000"/>
              <a:gd name="connsiteX30" fmla="*/ 426816 w 5545537"/>
              <a:gd name="connsiteY30" fmla="*/ 4712481 h 6876000"/>
              <a:gd name="connsiteX31" fmla="*/ 512040 w 5545537"/>
              <a:gd name="connsiteY31" fmla="*/ 4703889 h 6876000"/>
              <a:gd name="connsiteX32" fmla="*/ 512040 w 5545537"/>
              <a:gd name="connsiteY32" fmla="*/ 4703511 h 6876000"/>
              <a:gd name="connsiteX33" fmla="*/ 423086 w 5545537"/>
              <a:gd name="connsiteY33" fmla="*/ 4694544 h 6876000"/>
              <a:gd name="connsiteX34" fmla="*/ 0 w 5545537"/>
              <a:gd name="connsiteY34" fmla="*/ 4175435 h 6876000"/>
              <a:gd name="connsiteX35" fmla="*/ 529874 w 5545537"/>
              <a:gd name="connsiteY35" fmla="*/ 3645561 h 6876000"/>
              <a:gd name="connsiteX36" fmla="*/ 1048983 w 5545537"/>
              <a:gd name="connsiteY36" fmla="*/ 4068647 h 6876000"/>
              <a:gd name="connsiteX37" fmla="*/ 1057146 w 5545537"/>
              <a:gd name="connsiteY37" fmla="*/ 4149617 h 6876000"/>
              <a:gd name="connsiteX38" fmla="*/ 1066307 w 5545537"/>
              <a:gd name="connsiteY38" fmla="*/ 4347509 h 6876000"/>
              <a:gd name="connsiteX39" fmla="*/ 1069719 w 5545537"/>
              <a:gd name="connsiteY39" fmla="*/ 4620012 h 6876000"/>
              <a:gd name="connsiteX40" fmla="*/ 1095113 w 5545537"/>
              <a:gd name="connsiteY40" fmla="*/ 4538207 h 6876000"/>
              <a:gd name="connsiteX41" fmla="*/ 1576145 w 5545537"/>
              <a:gd name="connsiteY41" fmla="*/ 4219357 h 6876000"/>
              <a:gd name="connsiteX42" fmla="*/ 1609779 w 5545537"/>
              <a:gd name="connsiteY42" fmla="*/ 4222748 h 6876000"/>
              <a:gd name="connsiteX43" fmla="*/ 1609779 w 5545537"/>
              <a:gd name="connsiteY43" fmla="*/ 4205666 h 6876000"/>
              <a:gd name="connsiteX44" fmla="*/ 1577115 w 5545537"/>
              <a:gd name="connsiteY44" fmla="*/ 4208959 h 6876000"/>
              <a:gd name="connsiteX45" fmla="*/ 1055057 w 5545537"/>
              <a:gd name="connsiteY45" fmla="*/ 3686901 h 6876000"/>
              <a:gd name="connsiteX46" fmla="*/ 1577115 w 5545537"/>
              <a:gd name="connsiteY46" fmla="*/ 3164843 h 6876000"/>
              <a:gd name="connsiteX47" fmla="*/ 2088567 w 5545537"/>
              <a:gd name="connsiteY47" fmla="*/ 3581688 h 6876000"/>
              <a:gd name="connsiteX48" fmla="*/ 2098635 w 5545537"/>
              <a:gd name="connsiteY48" fmla="*/ 3681565 h 6876000"/>
              <a:gd name="connsiteX49" fmla="*/ 2113837 w 5545537"/>
              <a:gd name="connsiteY49" fmla="*/ 3681565 h 6876000"/>
              <a:gd name="connsiteX50" fmla="*/ 2113837 w 5545537"/>
              <a:gd name="connsiteY50" fmla="*/ 2637449 h 6876000"/>
              <a:gd name="connsiteX51" fmla="*/ 2114775 w 5545537"/>
              <a:gd name="connsiteY51" fmla="*/ 2637449 h 6876000"/>
              <a:gd name="connsiteX52" fmla="*/ 2113835 w 5545537"/>
              <a:gd name="connsiteY52" fmla="*/ 2628122 h 6876000"/>
              <a:gd name="connsiteX53" fmla="*/ 2635893 w 5545537"/>
              <a:gd name="connsiteY53" fmla="*/ 2106064 h 6876000"/>
              <a:gd name="connsiteX54" fmla="*/ 2649648 w 5545537"/>
              <a:gd name="connsiteY54" fmla="*/ 2107451 h 6876000"/>
              <a:gd name="connsiteX55" fmla="*/ 2649648 w 5545537"/>
              <a:gd name="connsiteY55" fmla="*/ 2090015 h 6876000"/>
              <a:gd name="connsiteX56" fmla="*/ 2635894 w 5545537"/>
              <a:gd name="connsiteY56" fmla="*/ 2091401 h 6876000"/>
              <a:gd name="connsiteX57" fmla="*/ 2113836 w 5545537"/>
              <a:gd name="connsiteY57" fmla="*/ 1569343 h 6876000"/>
              <a:gd name="connsiteX58" fmla="*/ 2635894 w 5545537"/>
              <a:gd name="connsiteY58" fmla="*/ 1047285 h 6876000"/>
              <a:gd name="connsiteX59" fmla="*/ 2649648 w 5545537"/>
              <a:gd name="connsiteY59" fmla="*/ 1048672 h 6876000"/>
              <a:gd name="connsiteX60" fmla="*/ 2649648 w 5545537"/>
              <a:gd name="connsiteY60" fmla="*/ 1043268 h 6876000"/>
              <a:gd name="connsiteX61" fmla="*/ 2689899 w 5545537"/>
              <a:gd name="connsiteY61" fmla="*/ 1039210 h 6876000"/>
              <a:gd name="connsiteX62" fmla="*/ 2689899 w 5545537"/>
              <a:gd name="connsiteY62" fmla="*/ 1038672 h 6876000"/>
              <a:gd name="connsiteX63" fmla="*/ 2635893 w 5545537"/>
              <a:gd name="connsiteY63" fmla="*/ 1044116 h 6876000"/>
              <a:gd name="connsiteX64" fmla="*/ 2113835 w 5545537"/>
              <a:gd name="connsiteY64" fmla="*/ 522058 h 6876000"/>
              <a:gd name="connsiteX65" fmla="*/ 2635893 w 5545537"/>
              <a:gd name="connsiteY65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1010 w 5545537"/>
              <a:gd name="connsiteY21" fmla="*/ 6219603 h 6876000"/>
              <a:gd name="connsiteX22" fmla="*/ 624433 w 5545537"/>
              <a:gd name="connsiteY22" fmla="*/ 5771972 h 6876000"/>
              <a:gd name="connsiteX23" fmla="*/ 529659 w 5545537"/>
              <a:gd name="connsiteY23" fmla="*/ 5762418 h 6876000"/>
              <a:gd name="connsiteX24" fmla="*/ 529659 w 5545537"/>
              <a:gd name="connsiteY24" fmla="*/ 5760642 h 6876000"/>
              <a:gd name="connsiteX25" fmla="*/ 512040 w 5545537"/>
              <a:gd name="connsiteY25" fmla="*/ 5760642 h 6876000"/>
              <a:gd name="connsiteX26" fmla="*/ 512040 w 5545537"/>
              <a:gd name="connsiteY26" fmla="*/ 5743975 h 6876000"/>
              <a:gd name="connsiteX27" fmla="*/ 426816 w 5545537"/>
              <a:gd name="connsiteY27" fmla="*/ 5735384 h 6876000"/>
              <a:gd name="connsiteX28" fmla="*/ 9971 w 5545537"/>
              <a:gd name="connsiteY28" fmla="*/ 5223932 h 6876000"/>
              <a:gd name="connsiteX29" fmla="*/ 426816 w 5545537"/>
              <a:gd name="connsiteY29" fmla="*/ 4712481 h 6876000"/>
              <a:gd name="connsiteX30" fmla="*/ 512040 w 5545537"/>
              <a:gd name="connsiteY30" fmla="*/ 4703889 h 6876000"/>
              <a:gd name="connsiteX31" fmla="*/ 512040 w 5545537"/>
              <a:gd name="connsiteY31" fmla="*/ 4703511 h 6876000"/>
              <a:gd name="connsiteX32" fmla="*/ 423086 w 5545537"/>
              <a:gd name="connsiteY32" fmla="*/ 4694544 h 6876000"/>
              <a:gd name="connsiteX33" fmla="*/ 0 w 5545537"/>
              <a:gd name="connsiteY33" fmla="*/ 4175435 h 6876000"/>
              <a:gd name="connsiteX34" fmla="*/ 529874 w 5545537"/>
              <a:gd name="connsiteY34" fmla="*/ 3645561 h 6876000"/>
              <a:gd name="connsiteX35" fmla="*/ 1048983 w 5545537"/>
              <a:gd name="connsiteY35" fmla="*/ 4068647 h 6876000"/>
              <a:gd name="connsiteX36" fmla="*/ 1057146 w 5545537"/>
              <a:gd name="connsiteY36" fmla="*/ 4149617 h 6876000"/>
              <a:gd name="connsiteX37" fmla="*/ 1066307 w 5545537"/>
              <a:gd name="connsiteY37" fmla="*/ 4347509 h 6876000"/>
              <a:gd name="connsiteX38" fmla="*/ 1069719 w 5545537"/>
              <a:gd name="connsiteY38" fmla="*/ 4620012 h 6876000"/>
              <a:gd name="connsiteX39" fmla="*/ 1095113 w 5545537"/>
              <a:gd name="connsiteY39" fmla="*/ 4538207 h 6876000"/>
              <a:gd name="connsiteX40" fmla="*/ 1576145 w 5545537"/>
              <a:gd name="connsiteY40" fmla="*/ 4219357 h 6876000"/>
              <a:gd name="connsiteX41" fmla="*/ 1609779 w 5545537"/>
              <a:gd name="connsiteY41" fmla="*/ 4222748 h 6876000"/>
              <a:gd name="connsiteX42" fmla="*/ 1609779 w 5545537"/>
              <a:gd name="connsiteY42" fmla="*/ 4205666 h 6876000"/>
              <a:gd name="connsiteX43" fmla="*/ 1577115 w 5545537"/>
              <a:gd name="connsiteY43" fmla="*/ 4208959 h 6876000"/>
              <a:gd name="connsiteX44" fmla="*/ 1055057 w 5545537"/>
              <a:gd name="connsiteY44" fmla="*/ 3686901 h 6876000"/>
              <a:gd name="connsiteX45" fmla="*/ 1577115 w 5545537"/>
              <a:gd name="connsiteY45" fmla="*/ 3164843 h 6876000"/>
              <a:gd name="connsiteX46" fmla="*/ 2088567 w 5545537"/>
              <a:gd name="connsiteY46" fmla="*/ 3581688 h 6876000"/>
              <a:gd name="connsiteX47" fmla="*/ 2098635 w 5545537"/>
              <a:gd name="connsiteY47" fmla="*/ 3681565 h 6876000"/>
              <a:gd name="connsiteX48" fmla="*/ 2113837 w 5545537"/>
              <a:gd name="connsiteY48" fmla="*/ 3681565 h 6876000"/>
              <a:gd name="connsiteX49" fmla="*/ 2113837 w 5545537"/>
              <a:gd name="connsiteY49" fmla="*/ 2637449 h 6876000"/>
              <a:gd name="connsiteX50" fmla="*/ 2114775 w 5545537"/>
              <a:gd name="connsiteY50" fmla="*/ 2637449 h 6876000"/>
              <a:gd name="connsiteX51" fmla="*/ 2113835 w 5545537"/>
              <a:gd name="connsiteY51" fmla="*/ 2628122 h 6876000"/>
              <a:gd name="connsiteX52" fmla="*/ 2635893 w 5545537"/>
              <a:gd name="connsiteY52" fmla="*/ 2106064 h 6876000"/>
              <a:gd name="connsiteX53" fmla="*/ 2649648 w 5545537"/>
              <a:gd name="connsiteY53" fmla="*/ 2107451 h 6876000"/>
              <a:gd name="connsiteX54" fmla="*/ 2649648 w 5545537"/>
              <a:gd name="connsiteY54" fmla="*/ 2090015 h 6876000"/>
              <a:gd name="connsiteX55" fmla="*/ 2635894 w 5545537"/>
              <a:gd name="connsiteY55" fmla="*/ 2091401 h 6876000"/>
              <a:gd name="connsiteX56" fmla="*/ 2113836 w 5545537"/>
              <a:gd name="connsiteY56" fmla="*/ 1569343 h 6876000"/>
              <a:gd name="connsiteX57" fmla="*/ 2635894 w 5545537"/>
              <a:gd name="connsiteY57" fmla="*/ 1047285 h 6876000"/>
              <a:gd name="connsiteX58" fmla="*/ 2649648 w 5545537"/>
              <a:gd name="connsiteY58" fmla="*/ 1048672 h 6876000"/>
              <a:gd name="connsiteX59" fmla="*/ 2649648 w 5545537"/>
              <a:gd name="connsiteY59" fmla="*/ 1043268 h 6876000"/>
              <a:gd name="connsiteX60" fmla="*/ 2689899 w 5545537"/>
              <a:gd name="connsiteY60" fmla="*/ 1039210 h 6876000"/>
              <a:gd name="connsiteX61" fmla="*/ 2689899 w 5545537"/>
              <a:gd name="connsiteY61" fmla="*/ 1038672 h 6876000"/>
              <a:gd name="connsiteX62" fmla="*/ 2635893 w 5545537"/>
              <a:gd name="connsiteY62" fmla="*/ 1044116 h 6876000"/>
              <a:gd name="connsiteX63" fmla="*/ 2113835 w 5545537"/>
              <a:gd name="connsiteY63" fmla="*/ 522058 h 6876000"/>
              <a:gd name="connsiteX64" fmla="*/ 2635893 w 5545537"/>
              <a:gd name="connsiteY64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1010 w 5545537"/>
              <a:gd name="connsiteY21" fmla="*/ 6219603 h 6876000"/>
              <a:gd name="connsiteX22" fmla="*/ 624433 w 5545537"/>
              <a:gd name="connsiteY22" fmla="*/ 5771972 h 6876000"/>
              <a:gd name="connsiteX23" fmla="*/ 529659 w 5545537"/>
              <a:gd name="connsiteY23" fmla="*/ 5762418 h 6876000"/>
              <a:gd name="connsiteX24" fmla="*/ 529659 w 5545537"/>
              <a:gd name="connsiteY24" fmla="*/ 5760642 h 6876000"/>
              <a:gd name="connsiteX25" fmla="*/ 512040 w 5545537"/>
              <a:gd name="connsiteY25" fmla="*/ 5743975 h 6876000"/>
              <a:gd name="connsiteX26" fmla="*/ 426816 w 5545537"/>
              <a:gd name="connsiteY26" fmla="*/ 5735384 h 6876000"/>
              <a:gd name="connsiteX27" fmla="*/ 9971 w 5545537"/>
              <a:gd name="connsiteY27" fmla="*/ 5223932 h 6876000"/>
              <a:gd name="connsiteX28" fmla="*/ 426816 w 5545537"/>
              <a:gd name="connsiteY28" fmla="*/ 4712481 h 6876000"/>
              <a:gd name="connsiteX29" fmla="*/ 512040 w 5545537"/>
              <a:gd name="connsiteY29" fmla="*/ 4703889 h 6876000"/>
              <a:gd name="connsiteX30" fmla="*/ 512040 w 5545537"/>
              <a:gd name="connsiteY30" fmla="*/ 4703511 h 6876000"/>
              <a:gd name="connsiteX31" fmla="*/ 423086 w 5545537"/>
              <a:gd name="connsiteY31" fmla="*/ 4694544 h 6876000"/>
              <a:gd name="connsiteX32" fmla="*/ 0 w 5545537"/>
              <a:gd name="connsiteY32" fmla="*/ 4175435 h 6876000"/>
              <a:gd name="connsiteX33" fmla="*/ 529874 w 5545537"/>
              <a:gd name="connsiteY33" fmla="*/ 3645561 h 6876000"/>
              <a:gd name="connsiteX34" fmla="*/ 1048983 w 5545537"/>
              <a:gd name="connsiteY34" fmla="*/ 4068647 h 6876000"/>
              <a:gd name="connsiteX35" fmla="*/ 1057146 w 5545537"/>
              <a:gd name="connsiteY35" fmla="*/ 4149617 h 6876000"/>
              <a:gd name="connsiteX36" fmla="*/ 1066307 w 5545537"/>
              <a:gd name="connsiteY36" fmla="*/ 4347509 h 6876000"/>
              <a:gd name="connsiteX37" fmla="*/ 1069719 w 5545537"/>
              <a:gd name="connsiteY37" fmla="*/ 4620012 h 6876000"/>
              <a:gd name="connsiteX38" fmla="*/ 1095113 w 5545537"/>
              <a:gd name="connsiteY38" fmla="*/ 4538207 h 6876000"/>
              <a:gd name="connsiteX39" fmla="*/ 1576145 w 5545537"/>
              <a:gd name="connsiteY39" fmla="*/ 4219357 h 6876000"/>
              <a:gd name="connsiteX40" fmla="*/ 1609779 w 5545537"/>
              <a:gd name="connsiteY40" fmla="*/ 4222748 h 6876000"/>
              <a:gd name="connsiteX41" fmla="*/ 1609779 w 5545537"/>
              <a:gd name="connsiteY41" fmla="*/ 4205666 h 6876000"/>
              <a:gd name="connsiteX42" fmla="*/ 1577115 w 5545537"/>
              <a:gd name="connsiteY42" fmla="*/ 4208959 h 6876000"/>
              <a:gd name="connsiteX43" fmla="*/ 1055057 w 5545537"/>
              <a:gd name="connsiteY43" fmla="*/ 3686901 h 6876000"/>
              <a:gd name="connsiteX44" fmla="*/ 1577115 w 5545537"/>
              <a:gd name="connsiteY44" fmla="*/ 3164843 h 6876000"/>
              <a:gd name="connsiteX45" fmla="*/ 2088567 w 5545537"/>
              <a:gd name="connsiteY45" fmla="*/ 3581688 h 6876000"/>
              <a:gd name="connsiteX46" fmla="*/ 2098635 w 5545537"/>
              <a:gd name="connsiteY46" fmla="*/ 3681565 h 6876000"/>
              <a:gd name="connsiteX47" fmla="*/ 2113837 w 5545537"/>
              <a:gd name="connsiteY47" fmla="*/ 3681565 h 6876000"/>
              <a:gd name="connsiteX48" fmla="*/ 2113837 w 5545537"/>
              <a:gd name="connsiteY48" fmla="*/ 2637449 h 6876000"/>
              <a:gd name="connsiteX49" fmla="*/ 2114775 w 5545537"/>
              <a:gd name="connsiteY49" fmla="*/ 2637449 h 6876000"/>
              <a:gd name="connsiteX50" fmla="*/ 2113835 w 5545537"/>
              <a:gd name="connsiteY50" fmla="*/ 2628122 h 6876000"/>
              <a:gd name="connsiteX51" fmla="*/ 2635893 w 5545537"/>
              <a:gd name="connsiteY51" fmla="*/ 2106064 h 6876000"/>
              <a:gd name="connsiteX52" fmla="*/ 2649648 w 5545537"/>
              <a:gd name="connsiteY52" fmla="*/ 2107451 h 6876000"/>
              <a:gd name="connsiteX53" fmla="*/ 2649648 w 5545537"/>
              <a:gd name="connsiteY53" fmla="*/ 2090015 h 6876000"/>
              <a:gd name="connsiteX54" fmla="*/ 2635894 w 5545537"/>
              <a:gd name="connsiteY54" fmla="*/ 2091401 h 6876000"/>
              <a:gd name="connsiteX55" fmla="*/ 2113836 w 5545537"/>
              <a:gd name="connsiteY55" fmla="*/ 1569343 h 6876000"/>
              <a:gd name="connsiteX56" fmla="*/ 2635894 w 5545537"/>
              <a:gd name="connsiteY56" fmla="*/ 1047285 h 6876000"/>
              <a:gd name="connsiteX57" fmla="*/ 2649648 w 5545537"/>
              <a:gd name="connsiteY57" fmla="*/ 1048672 h 6876000"/>
              <a:gd name="connsiteX58" fmla="*/ 2649648 w 5545537"/>
              <a:gd name="connsiteY58" fmla="*/ 1043268 h 6876000"/>
              <a:gd name="connsiteX59" fmla="*/ 2689899 w 5545537"/>
              <a:gd name="connsiteY59" fmla="*/ 1039210 h 6876000"/>
              <a:gd name="connsiteX60" fmla="*/ 2689899 w 5545537"/>
              <a:gd name="connsiteY60" fmla="*/ 1038672 h 6876000"/>
              <a:gd name="connsiteX61" fmla="*/ 2635893 w 5545537"/>
              <a:gd name="connsiteY61" fmla="*/ 1044116 h 6876000"/>
              <a:gd name="connsiteX62" fmla="*/ 2113835 w 5545537"/>
              <a:gd name="connsiteY62" fmla="*/ 522058 h 6876000"/>
              <a:gd name="connsiteX63" fmla="*/ 2635893 w 5545537"/>
              <a:gd name="connsiteY63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1010 w 5545537"/>
              <a:gd name="connsiteY21" fmla="*/ 6219603 h 6876000"/>
              <a:gd name="connsiteX22" fmla="*/ 624433 w 5545537"/>
              <a:gd name="connsiteY22" fmla="*/ 5771972 h 6876000"/>
              <a:gd name="connsiteX23" fmla="*/ 529659 w 5545537"/>
              <a:gd name="connsiteY23" fmla="*/ 5762418 h 6876000"/>
              <a:gd name="connsiteX24" fmla="*/ 512040 w 5545537"/>
              <a:gd name="connsiteY24" fmla="*/ 5743975 h 6876000"/>
              <a:gd name="connsiteX25" fmla="*/ 426816 w 5545537"/>
              <a:gd name="connsiteY25" fmla="*/ 5735384 h 6876000"/>
              <a:gd name="connsiteX26" fmla="*/ 9971 w 5545537"/>
              <a:gd name="connsiteY26" fmla="*/ 5223932 h 6876000"/>
              <a:gd name="connsiteX27" fmla="*/ 426816 w 5545537"/>
              <a:gd name="connsiteY27" fmla="*/ 4712481 h 6876000"/>
              <a:gd name="connsiteX28" fmla="*/ 512040 w 5545537"/>
              <a:gd name="connsiteY28" fmla="*/ 4703889 h 6876000"/>
              <a:gd name="connsiteX29" fmla="*/ 512040 w 5545537"/>
              <a:gd name="connsiteY29" fmla="*/ 4703511 h 6876000"/>
              <a:gd name="connsiteX30" fmla="*/ 423086 w 5545537"/>
              <a:gd name="connsiteY30" fmla="*/ 4694544 h 6876000"/>
              <a:gd name="connsiteX31" fmla="*/ 0 w 5545537"/>
              <a:gd name="connsiteY31" fmla="*/ 4175435 h 6876000"/>
              <a:gd name="connsiteX32" fmla="*/ 529874 w 5545537"/>
              <a:gd name="connsiteY32" fmla="*/ 3645561 h 6876000"/>
              <a:gd name="connsiteX33" fmla="*/ 1048983 w 5545537"/>
              <a:gd name="connsiteY33" fmla="*/ 4068647 h 6876000"/>
              <a:gd name="connsiteX34" fmla="*/ 1057146 w 5545537"/>
              <a:gd name="connsiteY34" fmla="*/ 4149617 h 6876000"/>
              <a:gd name="connsiteX35" fmla="*/ 1066307 w 5545537"/>
              <a:gd name="connsiteY35" fmla="*/ 4347509 h 6876000"/>
              <a:gd name="connsiteX36" fmla="*/ 1069719 w 5545537"/>
              <a:gd name="connsiteY36" fmla="*/ 4620012 h 6876000"/>
              <a:gd name="connsiteX37" fmla="*/ 1095113 w 5545537"/>
              <a:gd name="connsiteY37" fmla="*/ 4538207 h 6876000"/>
              <a:gd name="connsiteX38" fmla="*/ 1576145 w 5545537"/>
              <a:gd name="connsiteY38" fmla="*/ 4219357 h 6876000"/>
              <a:gd name="connsiteX39" fmla="*/ 1609779 w 5545537"/>
              <a:gd name="connsiteY39" fmla="*/ 4222748 h 6876000"/>
              <a:gd name="connsiteX40" fmla="*/ 1609779 w 5545537"/>
              <a:gd name="connsiteY40" fmla="*/ 4205666 h 6876000"/>
              <a:gd name="connsiteX41" fmla="*/ 1577115 w 5545537"/>
              <a:gd name="connsiteY41" fmla="*/ 4208959 h 6876000"/>
              <a:gd name="connsiteX42" fmla="*/ 1055057 w 5545537"/>
              <a:gd name="connsiteY42" fmla="*/ 3686901 h 6876000"/>
              <a:gd name="connsiteX43" fmla="*/ 1577115 w 5545537"/>
              <a:gd name="connsiteY43" fmla="*/ 3164843 h 6876000"/>
              <a:gd name="connsiteX44" fmla="*/ 2088567 w 5545537"/>
              <a:gd name="connsiteY44" fmla="*/ 3581688 h 6876000"/>
              <a:gd name="connsiteX45" fmla="*/ 2098635 w 5545537"/>
              <a:gd name="connsiteY45" fmla="*/ 3681565 h 6876000"/>
              <a:gd name="connsiteX46" fmla="*/ 2113837 w 5545537"/>
              <a:gd name="connsiteY46" fmla="*/ 3681565 h 6876000"/>
              <a:gd name="connsiteX47" fmla="*/ 2113837 w 5545537"/>
              <a:gd name="connsiteY47" fmla="*/ 2637449 h 6876000"/>
              <a:gd name="connsiteX48" fmla="*/ 2114775 w 5545537"/>
              <a:gd name="connsiteY48" fmla="*/ 2637449 h 6876000"/>
              <a:gd name="connsiteX49" fmla="*/ 2113835 w 5545537"/>
              <a:gd name="connsiteY49" fmla="*/ 2628122 h 6876000"/>
              <a:gd name="connsiteX50" fmla="*/ 2635893 w 5545537"/>
              <a:gd name="connsiteY50" fmla="*/ 2106064 h 6876000"/>
              <a:gd name="connsiteX51" fmla="*/ 2649648 w 5545537"/>
              <a:gd name="connsiteY51" fmla="*/ 2107451 h 6876000"/>
              <a:gd name="connsiteX52" fmla="*/ 2649648 w 5545537"/>
              <a:gd name="connsiteY52" fmla="*/ 2090015 h 6876000"/>
              <a:gd name="connsiteX53" fmla="*/ 2635894 w 5545537"/>
              <a:gd name="connsiteY53" fmla="*/ 2091401 h 6876000"/>
              <a:gd name="connsiteX54" fmla="*/ 2113836 w 5545537"/>
              <a:gd name="connsiteY54" fmla="*/ 1569343 h 6876000"/>
              <a:gd name="connsiteX55" fmla="*/ 2635894 w 5545537"/>
              <a:gd name="connsiteY55" fmla="*/ 1047285 h 6876000"/>
              <a:gd name="connsiteX56" fmla="*/ 2649648 w 5545537"/>
              <a:gd name="connsiteY56" fmla="*/ 1048672 h 6876000"/>
              <a:gd name="connsiteX57" fmla="*/ 2649648 w 5545537"/>
              <a:gd name="connsiteY57" fmla="*/ 1043268 h 6876000"/>
              <a:gd name="connsiteX58" fmla="*/ 2689899 w 5545537"/>
              <a:gd name="connsiteY58" fmla="*/ 1039210 h 6876000"/>
              <a:gd name="connsiteX59" fmla="*/ 2689899 w 5545537"/>
              <a:gd name="connsiteY59" fmla="*/ 1038672 h 6876000"/>
              <a:gd name="connsiteX60" fmla="*/ 2635893 w 5545537"/>
              <a:gd name="connsiteY60" fmla="*/ 1044116 h 6876000"/>
              <a:gd name="connsiteX61" fmla="*/ 2113835 w 5545537"/>
              <a:gd name="connsiteY61" fmla="*/ 522058 h 6876000"/>
              <a:gd name="connsiteX62" fmla="*/ 2635893 w 5545537"/>
              <a:gd name="connsiteY62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1010 w 5545537"/>
              <a:gd name="connsiteY21" fmla="*/ 6219603 h 6876000"/>
              <a:gd name="connsiteX22" fmla="*/ 624433 w 5545537"/>
              <a:gd name="connsiteY22" fmla="*/ 5771972 h 6876000"/>
              <a:gd name="connsiteX23" fmla="*/ 529659 w 5545537"/>
              <a:gd name="connsiteY23" fmla="*/ 5762418 h 6876000"/>
              <a:gd name="connsiteX24" fmla="*/ 426816 w 5545537"/>
              <a:gd name="connsiteY24" fmla="*/ 5735384 h 6876000"/>
              <a:gd name="connsiteX25" fmla="*/ 9971 w 5545537"/>
              <a:gd name="connsiteY25" fmla="*/ 5223932 h 6876000"/>
              <a:gd name="connsiteX26" fmla="*/ 426816 w 5545537"/>
              <a:gd name="connsiteY26" fmla="*/ 4712481 h 6876000"/>
              <a:gd name="connsiteX27" fmla="*/ 512040 w 5545537"/>
              <a:gd name="connsiteY27" fmla="*/ 4703889 h 6876000"/>
              <a:gd name="connsiteX28" fmla="*/ 512040 w 5545537"/>
              <a:gd name="connsiteY28" fmla="*/ 4703511 h 6876000"/>
              <a:gd name="connsiteX29" fmla="*/ 423086 w 5545537"/>
              <a:gd name="connsiteY29" fmla="*/ 4694544 h 6876000"/>
              <a:gd name="connsiteX30" fmla="*/ 0 w 5545537"/>
              <a:gd name="connsiteY30" fmla="*/ 4175435 h 6876000"/>
              <a:gd name="connsiteX31" fmla="*/ 529874 w 5545537"/>
              <a:gd name="connsiteY31" fmla="*/ 3645561 h 6876000"/>
              <a:gd name="connsiteX32" fmla="*/ 1048983 w 5545537"/>
              <a:gd name="connsiteY32" fmla="*/ 4068647 h 6876000"/>
              <a:gd name="connsiteX33" fmla="*/ 1057146 w 5545537"/>
              <a:gd name="connsiteY33" fmla="*/ 4149617 h 6876000"/>
              <a:gd name="connsiteX34" fmla="*/ 1066307 w 5545537"/>
              <a:gd name="connsiteY34" fmla="*/ 4347509 h 6876000"/>
              <a:gd name="connsiteX35" fmla="*/ 1069719 w 5545537"/>
              <a:gd name="connsiteY35" fmla="*/ 4620012 h 6876000"/>
              <a:gd name="connsiteX36" fmla="*/ 1095113 w 5545537"/>
              <a:gd name="connsiteY36" fmla="*/ 4538207 h 6876000"/>
              <a:gd name="connsiteX37" fmla="*/ 1576145 w 5545537"/>
              <a:gd name="connsiteY37" fmla="*/ 4219357 h 6876000"/>
              <a:gd name="connsiteX38" fmla="*/ 1609779 w 5545537"/>
              <a:gd name="connsiteY38" fmla="*/ 4222748 h 6876000"/>
              <a:gd name="connsiteX39" fmla="*/ 1609779 w 5545537"/>
              <a:gd name="connsiteY39" fmla="*/ 4205666 h 6876000"/>
              <a:gd name="connsiteX40" fmla="*/ 1577115 w 5545537"/>
              <a:gd name="connsiteY40" fmla="*/ 4208959 h 6876000"/>
              <a:gd name="connsiteX41" fmla="*/ 1055057 w 5545537"/>
              <a:gd name="connsiteY41" fmla="*/ 3686901 h 6876000"/>
              <a:gd name="connsiteX42" fmla="*/ 1577115 w 5545537"/>
              <a:gd name="connsiteY42" fmla="*/ 3164843 h 6876000"/>
              <a:gd name="connsiteX43" fmla="*/ 2088567 w 5545537"/>
              <a:gd name="connsiteY43" fmla="*/ 3581688 h 6876000"/>
              <a:gd name="connsiteX44" fmla="*/ 2098635 w 5545537"/>
              <a:gd name="connsiteY44" fmla="*/ 3681565 h 6876000"/>
              <a:gd name="connsiteX45" fmla="*/ 2113837 w 5545537"/>
              <a:gd name="connsiteY45" fmla="*/ 3681565 h 6876000"/>
              <a:gd name="connsiteX46" fmla="*/ 2113837 w 5545537"/>
              <a:gd name="connsiteY46" fmla="*/ 2637449 h 6876000"/>
              <a:gd name="connsiteX47" fmla="*/ 2114775 w 5545537"/>
              <a:gd name="connsiteY47" fmla="*/ 2637449 h 6876000"/>
              <a:gd name="connsiteX48" fmla="*/ 2113835 w 5545537"/>
              <a:gd name="connsiteY48" fmla="*/ 2628122 h 6876000"/>
              <a:gd name="connsiteX49" fmla="*/ 2635893 w 5545537"/>
              <a:gd name="connsiteY49" fmla="*/ 2106064 h 6876000"/>
              <a:gd name="connsiteX50" fmla="*/ 2649648 w 5545537"/>
              <a:gd name="connsiteY50" fmla="*/ 2107451 h 6876000"/>
              <a:gd name="connsiteX51" fmla="*/ 2649648 w 5545537"/>
              <a:gd name="connsiteY51" fmla="*/ 2090015 h 6876000"/>
              <a:gd name="connsiteX52" fmla="*/ 2635894 w 5545537"/>
              <a:gd name="connsiteY52" fmla="*/ 2091401 h 6876000"/>
              <a:gd name="connsiteX53" fmla="*/ 2113836 w 5545537"/>
              <a:gd name="connsiteY53" fmla="*/ 1569343 h 6876000"/>
              <a:gd name="connsiteX54" fmla="*/ 2635894 w 5545537"/>
              <a:gd name="connsiteY54" fmla="*/ 1047285 h 6876000"/>
              <a:gd name="connsiteX55" fmla="*/ 2649648 w 5545537"/>
              <a:gd name="connsiteY55" fmla="*/ 1048672 h 6876000"/>
              <a:gd name="connsiteX56" fmla="*/ 2649648 w 5545537"/>
              <a:gd name="connsiteY56" fmla="*/ 1043268 h 6876000"/>
              <a:gd name="connsiteX57" fmla="*/ 2689899 w 5545537"/>
              <a:gd name="connsiteY57" fmla="*/ 1039210 h 6876000"/>
              <a:gd name="connsiteX58" fmla="*/ 2689899 w 5545537"/>
              <a:gd name="connsiteY58" fmla="*/ 1038672 h 6876000"/>
              <a:gd name="connsiteX59" fmla="*/ 2635893 w 5545537"/>
              <a:gd name="connsiteY59" fmla="*/ 1044116 h 6876000"/>
              <a:gd name="connsiteX60" fmla="*/ 2113835 w 5545537"/>
              <a:gd name="connsiteY60" fmla="*/ 522058 h 6876000"/>
              <a:gd name="connsiteX61" fmla="*/ 2635893 w 5545537"/>
              <a:gd name="connsiteY61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1010 w 5545537"/>
              <a:gd name="connsiteY21" fmla="*/ 6219603 h 6876000"/>
              <a:gd name="connsiteX22" fmla="*/ 624433 w 5545537"/>
              <a:gd name="connsiteY22" fmla="*/ 5771972 h 6876000"/>
              <a:gd name="connsiteX23" fmla="*/ 529659 w 5545537"/>
              <a:gd name="connsiteY23" fmla="*/ 5762418 h 6876000"/>
              <a:gd name="connsiteX24" fmla="*/ 426816 w 5545537"/>
              <a:gd name="connsiteY24" fmla="*/ 5735384 h 6876000"/>
              <a:gd name="connsiteX25" fmla="*/ 9971 w 5545537"/>
              <a:gd name="connsiteY25" fmla="*/ 5223932 h 6876000"/>
              <a:gd name="connsiteX26" fmla="*/ 426816 w 5545537"/>
              <a:gd name="connsiteY26" fmla="*/ 4712481 h 6876000"/>
              <a:gd name="connsiteX27" fmla="*/ 512040 w 5545537"/>
              <a:gd name="connsiteY27" fmla="*/ 4703889 h 6876000"/>
              <a:gd name="connsiteX28" fmla="*/ 512040 w 5545537"/>
              <a:gd name="connsiteY28" fmla="*/ 4703511 h 6876000"/>
              <a:gd name="connsiteX29" fmla="*/ 423086 w 5545537"/>
              <a:gd name="connsiteY29" fmla="*/ 4694544 h 6876000"/>
              <a:gd name="connsiteX30" fmla="*/ 0 w 5545537"/>
              <a:gd name="connsiteY30" fmla="*/ 4175435 h 6876000"/>
              <a:gd name="connsiteX31" fmla="*/ 529874 w 5545537"/>
              <a:gd name="connsiteY31" fmla="*/ 3645561 h 6876000"/>
              <a:gd name="connsiteX32" fmla="*/ 1048983 w 5545537"/>
              <a:gd name="connsiteY32" fmla="*/ 4068647 h 6876000"/>
              <a:gd name="connsiteX33" fmla="*/ 1057146 w 5545537"/>
              <a:gd name="connsiteY33" fmla="*/ 4149617 h 6876000"/>
              <a:gd name="connsiteX34" fmla="*/ 1069719 w 5545537"/>
              <a:gd name="connsiteY34" fmla="*/ 4620012 h 6876000"/>
              <a:gd name="connsiteX35" fmla="*/ 1095113 w 5545537"/>
              <a:gd name="connsiteY35" fmla="*/ 4538207 h 6876000"/>
              <a:gd name="connsiteX36" fmla="*/ 1576145 w 5545537"/>
              <a:gd name="connsiteY36" fmla="*/ 4219357 h 6876000"/>
              <a:gd name="connsiteX37" fmla="*/ 1609779 w 5545537"/>
              <a:gd name="connsiteY37" fmla="*/ 4222748 h 6876000"/>
              <a:gd name="connsiteX38" fmla="*/ 1609779 w 5545537"/>
              <a:gd name="connsiteY38" fmla="*/ 4205666 h 6876000"/>
              <a:gd name="connsiteX39" fmla="*/ 1577115 w 5545537"/>
              <a:gd name="connsiteY39" fmla="*/ 4208959 h 6876000"/>
              <a:gd name="connsiteX40" fmla="*/ 1055057 w 5545537"/>
              <a:gd name="connsiteY40" fmla="*/ 3686901 h 6876000"/>
              <a:gd name="connsiteX41" fmla="*/ 1577115 w 5545537"/>
              <a:gd name="connsiteY41" fmla="*/ 3164843 h 6876000"/>
              <a:gd name="connsiteX42" fmla="*/ 2088567 w 5545537"/>
              <a:gd name="connsiteY42" fmla="*/ 3581688 h 6876000"/>
              <a:gd name="connsiteX43" fmla="*/ 2098635 w 5545537"/>
              <a:gd name="connsiteY43" fmla="*/ 3681565 h 6876000"/>
              <a:gd name="connsiteX44" fmla="*/ 2113837 w 5545537"/>
              <a:gd name="connsiteY44" fmla="*/ 3681565 h 6876000"/>
              <a:gd name="connsiteX45" fmla="*/ 2113837 w 5545537"/>
              <a:gd name="connsiteY45" fmla="*/ 2637449 h 6876000"/>
              <a:gd name="connsiteX46" fmla="*/ 2114775 w 5545537"/>
              <a:gd name="connsiteY46" fmla="*/ 2637449 h 6876000"/>
              <a:gd name="connsiteX47" fmla="*/ 2113835 w 5545537"/>
              <a:gd name="connsiteY47" fmla="*/ 2628122 h 6876000"/>
              <a:gd name="connsiteX48" fmla="*/ 2635893 w 5545537"/>
              <a:gd name="connsiteY48" fmla="*/ 2106064 h 6876000"/>
              <a:gd name="connsiteX49" fmla="*/ 2649648 w 5545537"/>
              <a:gd name="connsiteY49" fmla="*/ 2107451 h 6876000"/>
              <a:gd name="connsiteX50" fmla="*/ 2649648 w 5545537"/>
              <a:gd name="connsiteY50" fmla="*/ 2090015 h 6876000"/>
              <a:gd name="connsiteX51" fmla="*/ 2635894 w 5545537"/>
              <a:gd name="connsiteY51" fmla="*/ 2091401 h 6876000"/>
              <a:gd name="connsiteX52" fmla="*/ 2113836 w 5545537"/>
              <a:gd name="connsiteY52" fmla="*/ 1569343 h 6876000"/>
              <a:gd name="connsiteX53" fmla="*/ 2635894 w 5545537"/>
              <a:gd name="connsiteY53" fmla="*/ 1047285 h 6876000"/>
              <a:gd name="connsiteX54" fmla="*/ 2649648 w 5545537"/>
              <a:gd name="connsiteY54" fmla="*/ 1048672 h 6876000"/>
              <a:gd name="connsiteX55" fmla="*/ 2649648 w 5545537"/>
              <a:gd name="connsiteY55" fmla="*/ 1043268 h 6876000"/>
              <a:gd name="connsiteX56" fmla="*/ 2689899 w 5545537"/>
              <a:gd name="connsiteY56" fmla="*/ 1039210 h 6876000"/>
              <a:gd name="connsiteX57" fmla="*/ 2689899 w 5545537"/>
              <a:gd name="connsiteY57" fmla="*/ 1038672 h 6876000"/>
              <a:gd name="connsiteX58" fmla="*/ 2635893 w 5545537"/>
              <a:gd name="connsiteY58" fmla="*/ 1044116 h 6876000"/>
              <a:gd name="connsiteX59" fmla="*/ 2113835 w 5545537"/>
              <a:gd name="connsiteY59" fmla="*/ 522058 h 6876000"/>
              <a:gd name="connsiteX60" fmla="*/ 2635893 w 5545537"/>
              <a:gd name="connsiteY60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1010 w 5545537"/>
              <a:gd name="connsiteY21" fmla="*/ 6219603 h 6876000"/>
              <a:gd name="connsiteX22" fmla="*/ 624433 w 5545537"/>
              <a:gd name="connsiteY22" fmla="*/ 5771972 h 6876000"/>
              <a:gd name="connsiteX23" fmla="*/ 426816 w 5545537"/>
              <a:gd name="connsiteY23" fmla="*/ 5735384 h 6876000"/>
              <a:gd name="connsiteX24" fmla="*/ 9971 w 5545537"/>
              <a:gd name="connsiteY24" fmla="*/ 5223932 h 6876000"/>
              <a:gd name="connsiteX25" fmla="*/ 426816 w 5545537"/>
              <a:gd name="connsiteY25" fmla="*/ 4712481 h 6876000"/>
              <a:gd name="connsiteX26" fmla="*/ 512040 w 5545537"/>
              <a:gd name="connsiteY26" fmla="*/ 4703889 h 6876000"/>
              <a:gd name="connsiteX27" fmla="*/ 512040 w 5545537"/>
              <a:gd name="connsiteY27" fmla="*/ 4703511 h 6876000"/>
              <a:gd name="connsiteX28" fmla="*/ 423086 w 5545537"/>
              <a:gd name="connsiteY28" fmla="*/ 4694544 h 6876000"/>
              <a:gd name="connsiteX29" fmla="*/ 0 w 5545537"/>
              <a:gd name="connsiteY29" fmla="*/ 4175435 h 6876000"/>
              <a:gd name="connsiteX30" fmla="*/ 529874 w 5545537"/>
              <a:gd name="connsiteY30" fmla="*/ 3645561 h 6876000"/>
              <a:gd name="connsiteX31" fmla="*/ 1048983 w 5545537"/>
              <a:gd name="connsiteY31" fmla="*/ 4068647 h 6876000"/>
              <a:gd name="connsiteX32" fmla="*/ 1057146 w 5545537"/>
              <a:gd name="connsiteY32" fmla="*/ 4149617 h 6876000"/>
              <a:gd name="connsiteX33" fmla="*/ 1069719 w 5545537"/>
              <a:gd name="connsiteY33" fmla="*/ 4620012 h 6876000"/>
              <a:gd name="connsiteX34" fmla="*/ 1095113 w 5545537"/>
              <a:gd name="connsiteY34" fmla="*/ 4538207 h 6876000"/>
              <a:gd name="connsiteX35" fmla="*/ 1576145 w 5545537"/>
              <a:gd name="connsiteY35" fmla="*/ 4219357 h 6876000"/>
              <a:gd name="connsiteX36" fmla="*/ 1609779 w 5545537"/>
              <a:gd name="connsiteY36" fmla="*/ 4222748 h 6876000"/>
              <a:gd name="connsiteX37" fmla="*/ 1609779 w 5545537"/>
              <a:gd name="connsiteY37" fmla="*/ 4205666 h 6876000"/>
              <a:gd name="connsiteX38" fmla="*/ 1577115 w 5545537"/>
              <a:gd name="connsiteY38" fmla="*/ 4208959 h 6876000"/>
              <a:gd name="connsiteX39" fmla="*/ 1055057 w 5545537"/>
              <a:gd name="connsiteY39" fmla="*/ 3686901 h 6876000"/>
              <a:gd name="connsiteX40" fmla="*/ 1577115 w 5545537"/>
              <a:gd name="connsiteY40" fmla="*/ 3164843 h 6876000"/>
              <a:gd name="connsiteX41" fmla="*/ 2088567 w 5545537"/>
              <a:gd name="connsiteY41" fmla="*/ 3581688 h 6876000"/>
              <a:gd name="connsiteX42" fmla="*/ 2098635 w 5545537"/>
              <a:gd name="connsiteY42" fmla="*/ 3681565 h 6876000"/>
              <a:gd name="connsiteX43" fmla="*/ 2113837 w 5545537"/>
              <a:gd name="connsiteY43" fmla="*/ 3681565 h 6876000"/>
              <a:gd name="connsiteX44" fmla="*/ 2113837 w 5545537"/>
              <a:gd name="connsiteY44" fmla="*/ 2637449 h 6876000"/>
              <a:gd name="connsiteX45" fmla="*/ 2114775 w 5545537"/>
              <a:gd name="connsiteY45" fmla="*/ 2637449 h 6876000"/>
              <a:gd name="connsiteX46" fmla="*/ 2113835 w 5545537"/>
              <a:gd name="connsiteY46" fmla="*/ 2628122 h 6876000"/>
              <a:gd name="connsiteX47" fmla="*/ 2635893 w 5545537"/>
              <a:gd name="connsiteY47" fmla="*/ 2106064 h 6876000"/>
              <a:gd name="connsiteX48" fmla="*/ 2649648 w 5545537"/>
              <a:gd name="connsiteY48" fmla="*/ 2107451 h 6876000"/>
              <a:gd name="connsiteX49" fmla="*/ 2649648 w 5545537"/>
              <a:gd name="connsiteY49" fmla="*/ 2090015 h 6876000"/>
              <a:gd name="connsiteX50" fmla="*/ 2635894 w 5545537"/>
              <a:gd name="connsiteY50" fmla="*/ 2091401 h 6876000"/>
              <a:gd name="connsiteX51" fmla="*/ 2113836 w 5545537"/>
              <a:gd name="connsiteY51" fmla="*/ 1569343 h 6876000"/>
              <a:gd name="connsiteX52" fmla="*/ 2635894 w 5545537"/>
              <a:gd name="connsiteY52" fmla="*/ 1047285 h 6876000"/>
              <a:gd name="connsiteX53" fmla="*/ 2649648 w 5545537"/>
              <a:gd name="connsiteY53" fmla="*/ 1048672 h 6876000"/>
              <a:gd name="connsiteX54" fmla="*/ 2649648 w 5545537"/>
              <a:gd name="connsiteY54" fmla="*/ 1043268 h 6876000"/>
              <a:gd name="connsiteX55" fmla="*/ 2689899 w 5545537"/>
              <a:gd name="connsiteY55" fmla="*/ 1039210 h 6876000"/>
              <a:gd name="connsiteX56" fmla="*/ 2689899 w 5545537"/>
              <a:gd name="connsiteY56" fmla="*/ 1038672 h 6876000"/>
              <a:gd name="connsiteX57" fmla="*/ 2635893 w 5545537"/>
              <a:gd name="connsiteY57" fmla="*/ 1044116 h 6876000"/>
              <a:gd name="connsiteX58" fmla="*/ 2113835 w 5545537"/>
              <a:gd name="connsiteY58" fmla="*/ 522058 h 6876000"/>
              <a:gd name="connsiteX59" fmla="*/ 2635893 w 5545537"/>
              <a:gd name="connsiteY59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17891 w 5545537"/>
              <a:gd name="connsiteY14" fmla="*/ 6858537 h 6876000"/>
              <a:gd name="connsiteX15" fmla="*/ 1609779 w 5545537"/>
              <a:gd name="connsiteY15" fmla="*/ 6858537 h 6876000"/>
              <a:gd name="connsiteX16" fmla="*/ 1069719 w 5545537"/>
              <a:gd name="connsiteY16" fmla="*/ 6858537 h 6876000"/>
              <a:gd name="connsiteX17" fmla="*/ 1069719 w 5545537"/>
              <a:gd name="connsiteY17" fmla="*/ 6318334 h 6876000"/>
              <a:gd name="connsiteX18" fmla="*/ 1069720 w 5545537"/>
              <a:gd name="connsiteY18" fmla="*/ 6318321 h 6876000"/>
              <a:gd name="connsiteX19" fmla="*/ 1069719 w 5545537"/>
              <a:gd name="connsiteY19" fmla="*/ 6318310 h 6876000"/>
              <a:gd name="connsiteX20" fmla="*/ 1061010 w 5545537"/>
              <a:gd name="connsiteY20" fmla="*/ 6219603 h 6876000"/>
              <a:gd name="connsiteX21" fmla="*/ 624433 w 5545537"/>
              <a:gd name="connsiteY21" fmla="*/ 5771972 h 6876000"/>
              <a:gd name="connsiteX22" fmla="*/ 426816 w 5545537"/>
              <a:gd name="connsiteY22" fmla="*/ 5735384 h 6876000"/>
              <a:gd name="connsiteX23" fmla="*/ 9971 w 5545537"/>
              <a:gd name="connsiteY23" fmla="*/ 5223932 h 6876000"/>
              <a:gd name="connsiteX24" fmla="*/ 426816 w 5545537"/>
              <a:gd name="connsiteY24" fmla="*/ 4712481 h 6876000"/>
              <a:gd name="connsiteX25" fmla="*/ 512040 w 5545537"/>
              <a:gd name="connsiteY25" fmla="*/ 4703889 h 6876000"/>
              <a:gd name="connsiteX26" fmla="*/ 512040 w 5545537"/>
              <a:gd name="connsiteY26" fmla="*/ 4703511 h 6876000"/>
              <a:gd name="connsiteX27" fmla="*/ 423086 w 5545537"/>
              <a:gd name="connsiteY27" fmla="*/ 4694544 h 6876000"/>
              <a:gd name="connsiteX28" fmla="*/ 0 w 5545537"/>
              <a:gd name="connsiteY28" fmla="*/ 4175435 h 6876000"/>
              <a:gd name="connsiteX29" fmla="*/ 529874 w 5545537"/>
              <a:gd name="connsiteY29" fmla="*/ 3645561 h 6876000"/>
              <a:gd name="connsiteX30" fmla="*/ 1048983 w 5545537"/>
              <a:gd name="connsiteY30" fmla="*/ 4068647 h 6876000"/>
              <a:gd name="connsiteX31" fmla="*/ 1057146 w 5545537"/>
              <a:gd name="connsiteY31" fmla="*/ 4149617 h 6876000"/>
              <a:gd name="connsiteX32" fmla="*/ 1069719 w 5545537"/>
              <a:gd name="connsiteY32" fmla="*/ 4620012 h 6876000"/>
              <a:gd name="connsiteX33" fmla="*/ 1095113 w 5545537"/>
              <a:gd name="connsiteY33" fmla="*/ 4538207 h 6876000"/>
              <a:gd name="connsiteX34" fmla="*/ 1576145 w 5545537"/>
              <a:gd name="connsiteY34" fmla="*/ 4219357 h 6876000"/>
              <a:gd name="connsiteX35" fmla="*/ 1609779 w 5545537"/>
              <a:gd name="connsiteY35" fmla="*/ 4222748 h 6876000"/>
              <a:gd name="connsiteX36" fmla="*/ 1609779 w 5545537"/>
              <a:gd name="connsiteY36" fmla="*/ 4205666 h 6876000"/>
              <a:gd name="connsiteX37" fmla="*/ 1577115 w 5545537"/>
              <a:gd name="connsiteY37" fmla="*/ 4208959 h 6876000"/>
              <a:gd name="connsiteX38" fmla="*/ 1055057 w 5545537"/>
              <a:gd name="connsiteY38" fmla="*/ 3686901 h 6876000"/>
              <a:gd name="connsiteX39" fmla="*/ 1577115 w 5545537"/>
              <a:gd name="connsiteY39" fmla="*/ 3164843 h 6876000"/>
              <a:gd name="connsiteX40" fmla="*/ 2088567 w 5545537"/>
              <a:gd name="connsiteY40" fmla="*/ 3581688 h 6876000"/>
              <a:gd name="connsiteX41" fmla="*/ 2098635 w 5545537"/>
              <a:gd name="connsiteY41" fmla="*/ 3681565 h 6876000"/>
              <a:gd name="connsiteX42" fmla="*/ 2113837 w 5545537"/>
              <a:gd name="connsiteY42" fmla="*/ 3681565 h 6876000"/>
              <a:gd name="connsiteX43" fmla="*/ 2113837 w 5545537"/>
              <a:gd name="connsiteY43" fmla="*/ 2637449 h 6876000"/>
              <a:gd name="connsiteX44" fmla="*/ 2114775 w 5545537"/>
              <a:gd name="connsiteY44" fmla="*/ 2637449 h 6876000"/>
              <a:gd name="connsiteX45" fmla="*/ 2113835 w 5545537"/>
              <a:gd name="connsiteY45" fmla="*/ 2628122 h 6876000"/>
              <a:gd name="connsiteX46" fmla="*/ 2635893 w 5545537"/>
              <a:gd name="connsiteY46" fmla="*/ 2106064 h 6876000"/>
              <a:gd name="connsiteX47" fmla="*/ 2649648 w 5545537"/>
              <a:gd name="connsiteY47" fmla="*/ 2107451 h 6876000"/>
              <a:gd name="connsiteX48" fmla="*/ 2649648 w 5545537"/>
              <a:gd name="connsiteY48" fmla="*/ 2090015 h 6876000"/>
              <a:gd name="connsiteX49" fmla="*/ 2635894 w 5545537"/>
              <a:gd name="connsiteY49" fmla="*/ 2091401 h 6876000"/>
              <a:gd name="connsiteX50" fmla="*/ 2113836 w 5545537"/>
              <a:gd name="connsiteY50" fmla="*/ 1569343 h 6876000"/>
              <a:gd name="connsiteX51" fmla="*/ 2635894 w 5545537"/>
              <a:gd name="connsiteY51" fmla="*/ 1047285 h 6876000"/>
              <a:gd name="connsiteX52" fmla="*/ 2649648 w 5545537"/>
              <a:gd name="connsiteY52" fmla="*/ 1048672 h 6876000"/>
              <a:gd name="connsiteX53" fmla="*/ 2649648 w 5545537"/>
              <a:gd name="connsiteY53" fmla="*/ 1043268 h 6876000"/>
              <a:gd name="connsiteX54" fmla="*/ 2689899 w 5545537"/>
              <a:gd name="connsiteY54" fmla="*/ 1039210 h 6876000"/>
              <a:gd name="connsiteX55" fmla="*/ 2689899 w 5545537"/>
              <a:gd name="connsiteY55" fmla="*/ 1038672 h 6876000"/>
              <a:gd name="connsiteX56" fmla="*/ 2635893 w 5545537"/>
              <a:gd name="connsiteY56" fmla="*/ 1044116 h 6876000"/>
              <a:gd name="connsiteX57" fmla="*/ 2113835 w 5545537"/>
              <a:gd name="connsiteY57" fmla="*/ 522058 h 6876000"/>
              <a:gd name="connsiteX58" fmla="*/ 2635893 w 5545537"/>
              <a:gd name="connsiteY58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1609779 w 5545537"/>
              <a:gd name="connsiteY14" fmla="*/ 6858537 h 6876000"/>
              <a:gd name="connsiteX15" fmla="*/ 1069719 w 5545537"/>
              <a:gd name="connsiteY15" fmla="*/ 6858537 h 6876000"/>
              <a:gd name="connsiteX16" fmla="*/ 1069719 w 5545537"/>
              <a:gd name="connsiteY16" fmla="*/ 6318334 h 6876000"/>
              <a:gd name="connsiteX17" fmla="*/ 1069720 w 5545537"/>
              <a:gd name="connsiteY17" fmla="*/ 6318321 h 6876000"/>
              <a:gd name="connsiteX18" fmla="*/ 1069719 w 5545537"/>
              <a:gd name="connsiteY18" fmla="*/ 6318310 h 6876000"/>
              <a:gd name="connsiteX19" fmla="*/ 1061010 w 5545537"/>
              <a:gd name="connsiteY19" fmla="*/ 6219603 h 6876000"/>
              <a:gd name="connsiteX20" fmla="*/ 624433 w 5545537"/>
              <a:gd name="connsiteY20" fmla="*/ 5771972 h 6876000"/>
              <a:gd name="connsiteX21" fmla="*/ 426816 w 5545537"/>
              <a:gd name="connsiteY21" fmla="*/ 5735384 h 6876000"/>
              <a:gd name="connsiteX22" fmla="*/ 9971 w 5545537"/>
              <a:gd name="connsiteY22" fmla="*/ 5223932 h 6876000"/>
              <a:gd name="connsiteX23" fmla="*/ 426816 w 5545537"/>
              <a:gd name="connsiteY23" fmla="*/ 4712481 h 6876000"/>
              <a:gd name="connsiteX24" fmla="*/ 512040 w 5545537"/>
              <a:gd name="connsiteY24" fmla="*/ 4703889 h 6876000"/>
              <a:gd name="connsiteX25" fmla="*/ 512040 w 5545537"/>
              <a:gd name="connsiteY25" fmla="*/ 4703511 h 6876000"/>
              <a:gd name="connsiteX26" fmla="*/ 423086 w 5545537"/>
              <a:gd name="connsiteY26" fmla="*/ 4694544 h 6876000"/>
              <a:gd name="connsiteX27" fmla="*/ 0 w 5545537"/>
              <a:gd name="connsiteY27" fmla="*/ 4175435 h 6876000"/>
              <a:gd name="connsiteX28" fmla="*/ 529874 w 5545537"/>
              <a:gd name="connsiteY28" fmla="*/ 3645561 h 6876000"/>
              <a:gd name="connsiteX29" fmla="*/ 1048983 w 5545537"/>
              <a:gd name="connsiteY29" fmla="*/ 4068647 h 6876000"/>
              <a:gd name="connsiteX30" fmla="*/ 1057146 w 5545537"/>
              <a:gd name="connsiteY30" fmla="*/ 4149617 h 6876000"/>
              <a:gd name="connsiteX31" fmla="*/ 1069719 w 5545537"/>
              <a:gd name="connsiteY31" fmla="*/ 4620012 h 6876000"/>
              <a:gd name="connsiteX32" fmla="*/ 1095113 w 5545537"/>
              <a:gd name="connsiteY32" fmla="*/ 4538207 h 6876000"/>
              <a:gd name="connsiteX33" fmla="*/ 1576145 w 5545537"/>
              <a:gd name="connsiteY33" fmla="*/ 4219357 h 6876000"/>
              <a:gd name="connsiteX34" fmla="*/ 1609779 w 5545537"/>
              <a:gd name="connsiteY34" fmla="*/ 4222748 h 6876000"/>
              <a:gd name="connsiteX35" fmla="*/ 1609779 w 5545537"/>
              <a:gd name="connsiteY35" fmla="*/ 4205666 h 6876000"/>
              <a:gd name="connsiteX36" fmla="*/ 1577115 w 5545537"/>
              <a:gd name="connsiteY36" fmla="*/ 4208959 h 6876000"/>
              <a:gd name="connsiteX37" fmla="*/ 1055057 w 5545537"/>
              <a:gd name="connsiteY37" fmla="*/ 3686901 h 6876000"/>
              <a:gd name="connsiteX38" fmla="*/ 1577115 w 5545537"/>
              <a:gd name="connsiteY38" fmla="*/ 3164843 h 6876000"/>
              <a:gd name="connsiteX39" fmla="*/ 2088567 w 5545537"/>
              <a:gd name="connsiteY39" fmla="*/ 3581688 h 6876000"/>
              <a:gd name="connsiteX40" fmla="*/ 2098635 w 5545537"/>
              <a:gd name="connsiteY40" fmla="*/ 3681565 h 6876000"/>
              <a:gd name="connsiteX41" fmla="*/ 2113837 w 5545537"/>
              <a:gd name="connsiteY41" fmla="*/ 3681565 h 6876000"/>
              <a:gd name="connsiteX42" fmla="*/ 2113837 w 5545537"/>
              <a:gd name="connsiteY42" fmla="*/ 2637449 h 6876000"/>
              <a:gd name="connsiteX43" fmla="*/ 2114775 w 5545537"/>
              <a:gd name="connsiteY43" fmla="*/ 2637449 h 6876000"/>
              <a:gd name="connsiteX44" fmla="*/ 2113835 w 5545537"/>
              <a:gd name="connsiteY44" fmla="*/ 2628122 h 6876000"/>
              <a:gd name="connsiteX45" fmla="*/ 2635893 w 5545537"/>
              <a:gd name="connsiteY45" fmla="*/ 2106064 h 6876000"/>
              <a:gd name="connsiteX46" fmla="*/ 2649648 w 5545537"/>
              <a:gd name="connsiteY46" fmla="*/ 2107451 h 6876000"/>
              <a:gd name="connsiteX47" fmla="*/ 2649648 w 5545537"/>
              <a:gd name="connsiteY47" fmla="*/ 2090015 h 6876000"/>
              <a:gd name="connsiteX48" fmla="*/ 2635894 w 5545537"/>
              <a:gd name="connsiteY48" fmla="*/ 2091401 h 6876000"/>
              <a:gd name="connsiteX49" fmla="*/ 2113836 w 5545537"/>
              <a:gd name="connsiteY49" fmla="*/ 1569343 h 6876000"/>
              <a:gd name="connsiteX50" fmla="*/ 2635894 w 5545537"/>
              <a:gd name="connsiteY50" fmla="*/ 1047285 h 6876000"/>
              <a:gd name="connsiteX51" fmla="*/ 2649648 w 5545537"/>
              <a:gd name="connsiteY51" fmla="*/ 1048672 h 6876000"/>
              <a:gd name="connsiteX52" fmla="*/ 2649648 w 5545537"/>
              <a:gd name="connsiteY52" fmla="*/ 1043268 h 6876000"/>
              <a:gd name="connsiteX53" fmla="*/ 2689899 w 5545537"/>
              <a:gd name="connsiteY53" fmla="*/ 1039210 h 6876000"/>
              <a:gd name="connsiteX54" fmla="*/ 2689899 w 5545537"/>
              <a:gd name="connsiteY54" fmla="*/ 1038672 h 6876000"/>
              <a:gd name="connsiteX55" fmla="*/ 2635893 w 5545537"/>
              <a:gd name="connsiteY55" fmla="*/ 1044116 h 6876000"/>
              <a:gd name="connsiteX56" fmla="*/ 2113835 w 5545537"/>
              <a:gd name="connsiteY56" fmla="*/ 522058 h 6876000"/>
              <a:gd name="connsiteX57" fmla="*/ 2635893 w 5545537"/>
              <a:gd name="connsiteY57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1069719 w 5545537"/>
              <a:gd name="connsiteY14" fmla="*/ 6858537 h 6876000"/>
              <a:gd name="connsiteX15" fmla="*/ 1069719 w 5545537"/>
              <a:gd name="connsiteY15" fmla="*/ 6318334 h 6876000"/>
              <a:gd name="connsiteX16" fmla="*/ 1069720 w 5545537"/>
              <a:gd name="connsiteY16" fmla="*/ 6318321 h 6876000"/>
              <a:gd name="connsiteX17" fmla="*/ 1069719 w 5545537"/>
              <a:gd name="connsiteY17" fmla="*/ 6318310 h 6876000"/>
              <a:gd name="connsiteX18" fmla="*/ 1061010 w 5545537"/>
              <a:gd name="connsiteY18" fmla="*/ 6219603 h 6876000"/>
              <a:gd name="connsiteX19" fmla="*/ 624433 w 5545537"/>
              <a:gd name="connsiteY19" fmla="*/ 5771972 h 6876000"/>
              <a:gd name="connsiteX20" fmla="*/ 426816 w 5545537"/>
              <a:gd name="connsiteY20" fmla="*/ 5735384 h 6876000"/>
              <a:gd name="connsiteX21" fmla="*/ 9971 w 5545537"/>
              <a:gd name="connsiteY21" fmla="*/ 5223932 h 6876000"/>
              <a:gd name="connsiteX22" fmla="*/ 426816 w 5545537"/>
              <a:gd name="connsiteY22" fmla="*/ 4712481 h 6876000"/>
              <a:gd name="connsiteX23" fmla="*/ 512040 w 5545537"/>
              <a:gd name="connsiteY23" fmla="*/ 4703889 h 6876000"/>
              <a:gd name="connsiteX24" fmla="*/ 512040 w 5545537"/>
              <a:gd name="connsiteY24" fmla="*/ 4703511 h 6876000"/>
              <a:gd name="connsiteX25" fmla="*/ 423086 w 5545537"/>
              <a:gd name="connsiteY25" fmla="*/ 4694544 h 6876000"/>
              <a:gd name="connsiteX26" fmla="*/ 0 w 5545537"/>
              <a:gd name="connsiteY26" fmla="*/ 4175435 h 6876000"/>
              <a:gd name="connsiteX27" fmla="*/ 529874 w 5545537"/>
              <a:gd name="connsiteY27" fmla="*/ 3645561 h 6876000"/>
              <a:gd name="connsiteX28" fmla="*/ 1048983 w 5545537"/>
              <a:gd name="connsiteY28" fmla="*/ 4068647 h 6876000"/>
              <a:gd name="connsiteX29" fmla="*/ 1057146 w 5545537"/>
              <a:gd name="connsiteY29" fmla="*/ 4149617 h 6876000"/>
              <a:gd name="connsiteX30" fmla="*/ 1069719 w 5545537"/>
              <a:gd name="connsiteY30" fmla="*/ 4620012 h 6876000"/>
              <a:gd name="connsiteX31" fmla="*/ 1095113 w 5545537"/>
              <a:gd name="connsiteY31" fmla="*/ 4538207 h 6876000"/>
              <a:gd name="connsiteX32" fmla="*/ 1576145 w 5545537"/>
              <a:gd name="connsiteY32" fmla="*/ 4219357 h 6876000"/>
              <a:gd name="connsiteX33" fmla="*/ 1609779 w 5545537"/>
              <a:gd name="connsiteY33" fmla="*/ 4222748 h 6876000"/>
              <a:gd name="connsiteX34" fmla="*/ 1609779 w 5545537"/>
              <a:gd name="connsiteY34" fmla="*/ 4205666 h 6876000"/>
              <a:gd name="connsiteX35" fmla="*/ 1577115 w 5545537"/>
              <a:gd name="connsiteY35" fmla="*/ 4208959 h 6876000"/>
              <a:gd name="connsiteX36" fmla="*/ 1055057 w 5545537"/>
              <a:gd name="connsiteY36" fmla="*/ 3686901 h 6876000"/>
              <a:gd name="connsiteX37" fmla="*/ 1577115 w 5545537"/>
              <a:gd name="connsiteY37" fmla="*/ 3164843 h 6876000"/>
              <a:gd name="connsiteX38" fmla="*/ 2088567 w 5545537"/>
              <a:gd name="connsiteY38" fmla="*/ 3581688 h 6876000"/>
              <a:gd name="connsiteX39" fmla="*/ 2098635 w 5545537"/>
              <a:gd name="connsiteY39" fmla="*/ 3681565 h 6876000"/>
              <a:gd name="connsiteX40" fmla="*/ 2113837 w 5545537"/>
              <a:gd name="connsiteY40" fmla="*/ 3681565 h 6876000"/>
              <a:gd name="connsiteX41" fmla="*/ 2113837 w 5545537"/>
              <a:gd name="connsiteY41" fmla="*/ 2637449 h 6876000"/>
              <a:gd name="connsiteX42" fmla="*/ 2114775 w 5545537"/>
              <a:gd name="connsiteY42" fmla="*/ 2637449 h 6876000"/>
              <a:gd name="connsiteX43" fmla="*/ 2113835 w 5545537"/>
              <a:gd name="connsiteY43" fmla="*/ 2628122 h 6876000"/>
              <a:gd name="connsiteX44" fmla="*/ 2635893 w 5545537"/>
              <a:gd name="connsiteY44" fmla="*/ 2106064 h 6876000"/>
              <a:gd name="connsiteX45" fmla="*/ 2649648 w 5545537"/>
              <a:gd name="connsiteY45" fmla="*/ 2107451 h 6876000"/>
              <a:gd name="connsiteX46" fmla="*/ 2649648 w 5545537"/>
              <a:gd name="connsiteY46" fmla="*/ 2090015 h 6876000"/>
              <a:gd name="connsiteX47" fmla="*/ 2635894 w 5545537"/>
              <a:gd name="connsiteY47" fmla="*/ 2091401 h 6876000"/>
              <a:gd name="connsiteX48" fmla="*/ 2113836 w 5545537"/>
              <a:gd name="connsiteY48" fmla="*/ 1569343 h 6876000"/>
              <a:gd name="connsiteX49" fmla="*/ 2635894 w 5545537"/>
              <a:gd name="connsiteY49" fmla="*/ 1047285 h 6876000"/>
              <a:gd name="connsiteX50" fmla="*/ 2649648 w 5545537"/>
              <a:gd name="connsiteY50" fmla="*/ 1048672 h 6876000"/>
              <a:gd name="connsiteX51" fmla="*/ 2649648 w 5545537"/>
              <a:gd name="connsiteY51" fmla="*/ 1043268 h 6876000"/>
              <a:gd name="connsiteX52" fmla="*/ 2689899 w 5545537"/>
              <a:gd name="connsiteY52" fmla="*/ 1039210 h 6876000"/>
              <a:gd name="connsiteX53" fmla="*/ 2689899 w 5545537"/>
              <a:gd name="connsiteY53" fmla="*/ 1038672 h 6876000"/>
              <a:gd name="connsiteX54" fmla="*/ 2635893 w 5545537"/>
              <a:gd name="connsiteY54" fmla="*/ 1044116 h 6876000"/>
              <a:gd name="connsiteX55" fmla="*/ 2113835 w 5545537"/>
              <a:gd name="connsiteY55" fmla="*/ 522058 h 6876000"/>
              <a:gd name="connsiteX56" fmla="*/ 2635893 w 5545537"/>
              <a:gd name="connsiteY56" fmla="*/ 0 h 6876000"/>
              <a:gd name="connsiteX0" fmla="*/ 1577115 w 5545537"/>
              <a:gd name="connsiteY0" fmla="*/ 2106064 h 6922831"/>
              <a:gd name="connsiteX1" fmla="*/ 2099173 w 5545537"/>
              <a:gd name="connsiteY1" fmla="*/ 2628122 h 6922831"/>
              <a:gd name="connsiteX2" fmla="*/ 1577115 w 5545537"/>
              <a:gd name="connsiteY2" fmla="*/ 3150180 h 6922831"/>
              <a:gd name="connsiteX3" fmla="*/ 1055057 w 5545537"/>
              <a:gd name="connsiteY3" fmla="*/ 2628122 h 6922831"/>
              <a:gd name="connsiteX4" fmla="*/ 1577115 w 5545537"/>
              <a:gd name="connsiteY4" fmla="*/ 2106064 h 6922831"/>
              <a:gd name="connsiteX5" fmla="*/ 2635893 w 5545537"/>
              <a:gd name="connsiteY5" fmla="*/ 0 h 6922831"/>
              <a:gd name="connsiteX6" fmla="*/ 2649648 w 5545537"/>
              <a:gd name="connsiteY6" fmla="*/ 1387 h 6922831"/>
              <a:gd name="connsiteX7" fmla="*/ 2649648 w 5545537"/>
              <a:gd name="connsiteY7" fmla="*/ 537 h 6922831"/>
              <a:gd name="connsiteX8" fmla="*/ 2689899 w 5545537"/>
              <a:gd name="connsiteY8" fmla="*/ 537 h 6922831"/>
              <a:gd name="connsiteX9" fmla="*/ 2689899 w 5545537"/>
              <a:gd name="connsiteY9" fmla="*/ 0 h 6922831"/>
              <a:gd name="connsiteX10" fmla="*/ 3846766 w 5545537"/>
              <a:gd name="connsiteY10" fmla="*/ 0 h 6922831"/>
              <a:gd name="connsiteX11" fmla="*/ 3846766 w 5545537"/>
              <a:gd name="connsiteY11" fmla="*/ 537 h 6922831"/>
              <a:gd name="connsiteX12" fmla="*/ 5545537 w 5545537"/>
              <a:gd name="connsiteY12" fmla="*/ 537 h 6922831"/>
              <a:gd name="connsiteX13" fmla="*/ 5545537 w 5545537"/>
              <a:gd name="connsiteY13" fmla="*/ 6876000 h 6922831"/>
              <a:gd name="connsiteX14" fmla="*/ 1067337 w 5545537"/>
              <a:gd name="connsiteY14" fmla="*/ 6922831 h 6922831"/>
              <a:gd name="connsiteX15" fmla="*/ 1069719 w 5545537"/>
              <a:gd name="connsiteY15" fmla="*/ 6318334 h 6922831"/>
              <a:gd name="connsiteX16" fmla="*/ 1069720 w 5545537"/>
              <a:gd name="connsiteY16" fmla="*/ 6318321 h 6922831"/>
              <a:gd name="connsiteX17" fmla="*/ 1069719 w 5545537"/>
              <a:gd name="connsiteY17" fmla="*/ 6318310 h 6922831"/>
              <a:gd name="connsiteX18" fmla="*/ 1061010 w 5545537"/>
              <a:gd name="connsiteY18" fmla="*/ 6219603 h 6922831"/>
              <a:gd name="connsiteX19" fmla="*/ 624433 w 5545537"/>
              <a:gd name="connsiteY19" fmla="*/ 5771972 h 6922831"/>
              <a:gd name="connsiteX20" fmla="*/ 426816 w 5545537"/>
              <a:gd name="connsiteY20" fmla="*/ 5735384 h 6922831"/>
              <a:gd name="connsiteX21" fmla="*/ 9971 w 5545537"/>
              <a:gd name="connsiteY21" fmla="*/ 5223932 h 6922831"/>
              <a:gd name="connsiteX22" fmla="*/ 426816 w 5545537"/>
              <a:gd name="connsiteY22" fmla="*/ 4712481 h 6922831"/>
              <a:gd name="connsiteX23" fmla="*/ 512040 w 5545537"/>
              <a:gd name="connsiteY23" fmla="*/ 4703889 h 6922831"/>
              <a:gd name="connsiteX24" fmla="*/ 512040 w 5545537"/>
              <a:gd name="connsiteY24" fmla="*/ 4703511 h 6922831"/>
              <a:gd name="connsiteX25" fmla="*/ 423086 w 5545537"/>
              <a:gd name="connsiteY25" fmla="*/ 4694544 h 6922831"/>
              <a:gd name="connsiteX26" fmla="*/ 0 w 5545537"/>
              <a:gd name="connsiteY26" fmla="*/ 4175435 h 6922831"/>
              <a:gd name="connsiteX27" fmla="*/ 529874 w 5545537"/>
              <a:gd name="connsiteY27" fmla="*/ 3645561 h 6922831"/>
              <a:gd name="connsiteX28" fmla="*/ 1048983 w 5545537"/>
              <a:gd name="connsiteY28" fmla="*/ 4068647 h 6922831"/>
              <a:gd name="connsiteX29" fmla="*/ 1057146 w 5545537"/>
              <a:gd name="connsiteY29" fmla="*/ 4149617 h 6922831"/>
              <a:gd name="connsiteX30" fmla="*/ 1069719 w 5545537"/>
              <a:gd name="connsiteY30" fmla="*/ 4620012 h 6922831"/>
              <a:gd name="connsiteX31" fmla="*/ 1095113 w 5545537"/>
              <a:gd name="connsiteY31" fmla="*/ 4538207 h 6922831"/>
              <a:gd name="connsiteX32" fmla="*/ 1576145 w 5545537"/>
              <a:gd name="connsiteY32" fmla="*/ 4219357 h 6922831"/>
              <a:gd name="connsiteX33" fmla="*/ 1609779 w 5545537"/>
              <a:gd name="connsiteY33" fmla="*/ 4222748 h 6922831"/>
              <a:gd name="connsiteX34" fmla="*/ 1609779 w 5545537"/>
              <a:gd name="connsiteY34" fmla="*/ 4205666 h 6922831"/>
              <a:gd name="connsiteX35" fmla="*/ 1577115 w 5545537"/>
              <a:gd name="connsiteY35" fmla="*/ 4208959 h 6922831"/>
              <a:gd name="connsiteX36" fmla="*/ 1055057 w 5545537"/>
              <a:gd name="connsiteY36" fmla="*/ 3686901 h 6922831"/>
              <a:gd name="connsiteX37" fmla="*/ 1577115 w 5545537"/>
              <a:gd name="connsiteY37" fmla="*/ 3164843 h 6922831"/>
              <a:gd name="connsiteX38" fmla="*/ 2088567 w 5545537"/>
              <a:gd name="connsiteY38" fmla="*/ 3581688 h 6922831"/>
              <a:gd name="connsiteX39" fmla="*/ 2098635 w 5545537"/>
              <a:gd name="connsiteY39" fmla="*/ 3681565 h 6922831"/>
              <a:gd name="connsiteX40" fmla="*/ 2113837 w 5545537"/>
              <a:gd name="connsiteY40" fmla="*/ 3681565 h 6922831"/>
              <a:gd name="connsiteX41" fmla="*/ 2113837 w 5545537"/>
              <a:gd name="connsiteY41" fmla="*/ 2637449 h 6922831"/>
              <a:gd name="connsiteX42" fmla="*/ 2114775 w 5545537"/>
              <a:gd name="connsiteY42" fmla="*/ 2637449 h 6922831"/>
              <a:gd name="connsiteX43" fmla="*/ 2113835 w 5545537"/>
              <a:gd name="connsiteY43" fmla="*/ 2628122 h 6922831"/>
              <a:gd name="connsiteX44" fmla="*/ 2635893 w 5545537"/>
              <a:gd name="connsiteY44" fmla="*/ 2106064 h 6922831"/>
              <a:gd name="connsiteX45" fmla="*/ 2649648 w 5545537"/>
              <a:gd name="connsiteY45" fmla="*/ 2107451 h 6922831"/>
              <a:gd name="connsiteX46" fmla="*/ 2649648 w 5545537"/>
              <a:gd name="connsiteY46" fmla="*/ 2090015 h 6922831"/>
              <a:gd name="connsiteX47" fmla="*/ 2635894 w 5545537"/>
              <a:gd name="connsiteY47" fmla="*/ 2091401 h 6922831"/>
              <a:gd name="connsiteX48" fmla="*/ 2113836 w 5545537"/>
              <a:gd name="connsiteY48" fmla="*/ 1569343 h 6922831"/>
              <a:gd name="connsiteX49" fmla="*/ 2635894 w 5545537"/>
              <a:gd name="connsiteY49" fmla="*/ 1047285 h 6922831"/>
              <a:gd name="connsiteX50" fmla="*/ 2649648 w 5545537"/>
              <a:gd name="connsiteY50" fmla="*/ 1048672 h 6922831"/>
              <a:gd name="connsiteX51" fmla="*/ 2649648 w 5545537"/>
              <a:gd name="connsiteY51" fmla="*/ 1043268 h 6922831"/>
              <a:gd name="connsiteX52" fmla="*/ 2689899 w 5545537"/>
              <a:gd name="connsiteY52" fmla="*/ 1039210 h 6922831"/>
              <a:gd name="connsiteX53" fmla="*/ 2689899 w 5545537"/>
              <a:gd name="connsiteY53" fmla="*/ 1038672 h 6922831"/>
              <a:gd name="connsiteX54" fmla="*/ 2635893 w 5545537"/>
              <a:gd name="connsiteY54" fmla="*/ 1044116 h 6922831"/>
              <a:gd name="connsiteX55" fmla="*/ 2113835 w 5545537"/>
              <a:gd name="connsiteY55" fmla="*/ 522058 h 6922831"/>
              <a:gd name="connsiteX56" fmla="*/ 2635893 w 5545537"/>
              <a:gd name="connsiteY56" fmla="*/ 0 h 6922831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1067337 w 5545537"/>
              <a:gd name="connsiteY14" fmla="*/ 6863300 h 6876000"/>
              <a:gd name="connsiteX15" fmla="*/ 1069719 w 5545537"/>
              <a:gd name="connsiteY15" fmla="*/ 6318334 h 6876000"/>
              <a:gd name="connsiteX16" fmla="*/ 1069720 w 5545537"/>
              <a:gd name="connsiteY16" fmla="*/ 6318321 h 6876000"/>
              <a:gd name="connsiteX17" fmla="*/ 1069719 w 5545537"/>
              <a:gd name="connsiteY17" fmla="*/ 6318310 h 6876000"/>
              <a:gd name="connsiteX18" fmla="*/ 1061010 w 5545537"/>
              <a:gd name="connsiteY18" fmla="*/ 6219603 h 6876000"/>
              <a:gd name="connsiteX19" fmla="*/ 624433 w 5545537"/>
              <a:gd name="connsiteY19" fmla="*/ 5771972 h 6876000"/>
              <a:gd name="connsiteX20" fmla="*/ 426816 w 5545537"/>
              <a:gd name="connsiteY20" fmla="*/ 5735384 h 6876000"/>
              <a:gd name="connsiteX21" fmla="*/ 9971 w 5545537"/>
              <a:gd name="connsiteY21" fmla="*/ 5223932 h 6876000"/>
              <a:gd name="connsiteX22" fmla="*/ 426816 w 5545537"/>
              <a:gd name="connsiteY22" fmla="*/ 4712481 h 6876000"/>
              <a:gd name="connsiteX23" fmla="*/ 512040 w 5545537"/>
              <a:gd name="connsiteY23" fmla="*/ 4703889 h 6876000"/>
              <a:gd name="connsiteX24" fmla="*/ 512040 w 5545537"/>
              <a:gd name="connsiteY24" fmla="*/ 4703511 h 6876000"/>
              <a:gd name="connsiteX25" fmla="*/ 423086 w 5545537"/>
              <a:gd name="connsiteY25" fmla="*/ 4694544 h 6876000"/>
              <a:gd name="connsiteX26" fmla="*/ 0 w 5545537"/>
              <a:gd name="connsiteY26" fmla="*/ 4175435 h 6876000"/>
              <a:gd name="connsiteX27" fmla="*/ 529874 w 5545537"/>
              <a:gd name="connsiteY27" fmla="*/ 3645561 h 6876000"/>
              <a:gd name="connsiteX28" fmla="*/ 1048983 w 5545537"/>
              <a:gd name="connsiteY28" fmla="*/ 4068647 h 6876000"/>
              <a:gd name="connsiteX29" fmla="*/ 1057146 w 5545537"/>
              <a:gd name="connsiteY29" fmla="*/ 4149617 h 6876000"/>
              <a:gd name="connsiteX30" fmla="*/ 1069719 w 5545537"/>
              <a:gd name="connsiteY30" fmla="*/ 4620012 h 6876000"/>
              <a:gd name="connsiteX31" fmla="*/ 1095113 w 5545537"/>
              <a:gd name="connsiteY31" fmla="*/ 4538207 h 6876000"/>
              <a:gd name="connsiteX32" fmla="*/ 1576145 w 5545537"/>
              <a:gd name="connsiteY32" fmla="*/ 4219357 h 6876000"/>
              <a:gd name="connsiteX33" fmla="*/ 1609779 w 5545537"/>
              <a:gd name="connsiteY33" fmla="*/ 4222748 h 6876000"/>
              <a:gd name="connsiteX34" fmla="*/ 1609779 w 5545537"/>
              <a:gd name="connsiteY34" fmla="*/ 4205666 h 6876000"/>
              <a:gd name="connsiteX35" fmla="*/ 1577115 w 5545537"/>
              <a:gd name="connsiteY35" fmla="*/ 4208959 h 6876000"/>
              <a:gd name="connsiteX36" fmla="*/ 1055057 w 5545537"/>
              <a:gd name="connsiteY36" fmla="*/ 3686901 h 6876000"/>
              <a:gd name="connsiteX37" fmla="*/ 1577115 w 5545537"/>
              <a:gd name="connsiteY37" fmla="*/ 3164843 h 6876000"/>
              <a:gd name="connsiteX38" fmla="*/ 2088567 w 5545537"/>
              <a:gd name="connsiteY38" fmla="*/ 3581688 h 6876000"/>
              <a:gd name="connsiteX39" fmla="*/ 2098635 w 5545537"/>
              <a:gd name="connsiteY39" fmla="*/ 3681565 h 6876000"/>
              <a:gd name="connsiteX40" fmla="*/ 2113837 w 5545537"/>
              <a:gd name="connsiteY40" fmla="*/ 3681565 h 6876000"/>
              <a:gd name="connsiteX41" fmla="*/ 2113837 w 5545537"/>
              <a:gd name="connsiteY41" fmla="*/ 2637449 h 6876000"/>
              <a:gd name="connsiteX42" fmla="*/ 2114775 w 5545537"/>
              <a:gd name="connsiteY42" fmla="*/ 2637449 h 6876000"/>
              <a:gd name="connsiteX43" fmla="*/ 2113835 w 5545537"/>
              <a:gd name="connsiteY43" fmla="*/ 2628122 h 6876000"/>
              <a:gd name="connsiteX44" fmla="*/ 2635893 w 5545537"/>
              <a:gd name="connsiteY44" fmla="*/ 2106064 h 6876000"/>
              <a:gd name="connsiteX45" fmla="*/ 2649648 w 5545537"/>
              <a:gd name="connsiteY45" fmla="*/ 2107451 h 6876000"/>
              <a:gd name="connsiteX46" fmla="*/ 2649648 w 5545537"/>
              <a:gd name="connsiteY46" fmla="*/ 2090015 h 6876000"/>
              <a:gd name="connsiteX47" fmla="*/ 2635894 w 5545537"/>
              <a:gd name="connsiteY47" fmla="*/ 2091401 h 6876000"/>
              <a:gd name="connsiteX48" fmla="*/ 2113836 w 5545537"/>
              <a:gd name="connsiteY48" fmla="*/ 1569343 h 6876000"/>
              <a:gd name="connsiteX49" fmla="*/ 2635894 w 5545537"/>
              <a:gd name="connsiteY49" fmla="*/ 1047285 h 6876000"/>
              <a:gd name="connsiteX50" fmla="*/ 2649648 w 5545537"/>
              <a:gd name="connsiteY50" fmla="*/ 1048672 h 6876000"/>
              <a:gd name="connsiteX51" fmla="*/ 2649648 w 5545537"/>
              <a:gd name="connsiteY51" fmla="*/ 1043268 h 6876000"/>
              <a:gd name="connsiteX52" fmla="*/ 2689899 w 5545537"/>
              <a:gd name="connsiteY52" fmla="*/ 1039210 h 6876000"/>
              <a:gd name="connsiteX53" fmla="*/ 2689899 w 5545537"/>
              <a:gd name="connsiteY53" fmla="*/ 1038672 h 6876000"/>
              <a:gd name="connsiteX54" fmla="*/ 2635893 w 5545537"/>
              <a:gd name="connsiteY54" fmla="*/ 1044116 h 6876000"/>
              <a:gd name="connsiteX55" fmla="*/ 2113835 w 5545537"/>
              <a:gd name="connsiteY55" fmla="*/ 522058 h 6876000"/>
              <a:gd name="connsiteX56" fmla="*/ 2635893 w 5545537"/>
              <a:gd name="connsiteY56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1067337 w 5545537"/>
              <a:gd name="connsiteY14" fmla="*/ 6863300 h 6876000"/>
              <a:gd name="connsiteX15" fmla="*/ 1069719 w 5545537"/>
              <a:gd name="connsiteY15" fmla="*/ 6318334 h 6876000"/>
              <a:gd name="connsiteX16" fmla="*/ 1069720 w 5545537"/>
              <a:gd name="connsiteY16" fmla="*/ 6318321 h 6876000"/>
              <a:gd name="connsiteX17" fmla="*/ 1069719 w 5545537"/>
              <a:gd name="connsiteY17" fmla="*/ 6318310 h 6876000"/>
              <a:gd name="connsiteX18" fmla="*/ 1061010 w 5545537"/>
              <a:gd name="connsiteY18" fmla="*/ 6219603 h 6876000"/>
              <a:gd name="connsiteX19" fmla="*/ 624433 w 5545537"/>
              <a:gd name="connsiteY19" fmla="*/ 5771972 h 6876000"/>
              <a:gd name="connsiteX20" fmla="*/ 426816 w 5545537"/>
              <a:gd name="connsiteY20" fmla="*/ 5735384 h 6876000"/>
              <a:gd name="connsiteX21" fmla="*/ 9971 w 5545537"/>
              <a:gd name="connsiteY21" fmla="*/ 5223932 h 6876000"/>
              <a:gd name="connsiteX22" fmla="*/ 426816 w 5545537"/>
              <a:gd name="connsiteY22" fmla="*/ 4712481 h 6876000"/>
              <a:gd name="connsiteX23" fmla="*/ 512040 w 5545537"/>
              <a:gd name="connsiteY23" fmla="*/ 4703889 h 6876000"/>
              <a:gd name="connsiteX24" fmla="*/ 512040 w 5545537"/>
              <a:gd name="connsiteY24" fmla="*/ 4703511 h 6876000"/>
              <a:gd name="connsiteX25" fmla="*/ 423086 w 5545537"/>
              <a:gd name="connsiteY25" fmla="*/ 4694544 h 6876000"/>
              <a:gd name="connsiteX26" fmla="*/ 0 w 5545537"/>
              <a:gd name="connsiteY26" fmla="*/ 4175435 h 6876000"/>
              <a:gd name="connsiteX27" fmla="*/ 529874 w 5545537"/>
              <a:gd name="connsiteY27" fmla="*/ 3645561 h 6876000"/>
              <a:gd name="connsiteX28" fmla="*/ 1048983 w 5545537"/>
              <a:gd name="connsiteY28" fmla="*/ 4068647 h 6876000"/>
              <a:gd name="connsiteX29" fmla="*/ 1057146 w 5545537"/>
              <a:gd name="connsiteY29" fmla="*/ 4149617 h 6876000"/>
              <a:gd name="connsiteX30" fmla="*/ 1069719 w 5545537"/>
              <a:gd name="connsiteY30" fmla="*/ 4620012 h 6876000"/>
              <a:gd name="connsiteX31" fmla="*/ 1095113 w 5545537"/>
              <a:gd name="connsiteY31" fmla="*/ 4538207 h 6876000"/>
              <a:gd name="connsiteX32" fmla="*/ 1576145 w 5545537"/>
              <a:gd name="connsiteY32" fmla="*/ 4219357 h 6876000"/>
              <a:gd name="connsiteX33" fmla="*/ 1609779 w 5545537"/>
              <a:gd name="connsiteY33" fmla="*/ 4222748 h 6876000"/>
              <a:gd name="connsiteX34" fmla="*/ 1609779 w 5545537"/>
              <a:gd name="connsiteY34" fmla="*/ 4205666 h 6876000"/>
              <a:gd name="connsiteX35" fmla="*/ 1577115 w 5545537"/>
              <a:gd name="connsiteY35" fmla="*/ 4208959 h 6876000"/>
              <a:gd name="connsiteX36" fmla="*/ 1055057 w 5545537"/>
              <a:gd name="connsiteY36" fmla="*/ 3686901 h 6876000"/>
              <a:gd name="connsiteX37" fmla="*/ 1577115 w 5545537"/>
              <a:gd name="connsiteY37" fmla="*/ 3164843 h 6876000"/>
              <a:gd name="connsiteX38" fmla="*/ 2088567 w 5545537"/>
              <a:gd name="connsiteY38" fmla="*/ 3581688 h 6876000"/>
              <a:gd name="connsiteX39" fmla="*/ 2098635 w 5545537"/>
              <a:gd name="connsiteY39" fmla="*/ 3681565 h 6876000"/>
              <a:gd name="connsiteX40" fmla="*/ 2113837 w 5545537"/>
              <a:gd name="connsiteY40" fmla="*/ 3681565 h 6876000"/>
              <a:gd name="connsiteX41" fmla="*/ 2113837 w 5545537"/>
              <a:gd name="connsiteY41" fmla="*/ 2637449 h 6876000"/>
              <a:gd name="connsiteX42" fmla="*/ 2114775 w 5545537"/>
              <a:gd name="connsiteY42" fmla="*/ 2637449 h 6876000"/>
              <a:gd name="connsiteX43" fmla="*/ 2113835 w 5545537"/>
              <a:gd name="connsiteY43" fmla="*/ 2628122 h 6876000"/>
              <a:gd name="connsiteX44" fmla="*/ 2635893 w 5545537"/>
              <a:gd name="connsiteY44" fmla="*/ 2106064 h 6876000"/>
              <a:gd name="connsiteX45" fmla="*/ 2649648 w 5545537"/>
              <a:gd name="connsiteY45" fmla="*/ 2107451 h 6876000"/>
              <a:gd name="connsiteX46" fmla="*/ 2649648 w 5545537"/>
              <a:gd name="connsiteY46" fmla="*/ 2090015 h 6876000"/>
              <a:gd name="connsiteX47" fmla="*/ 2635894 w 5545537"/>
              <a:gd name="connsiteY47" fmla="*/ 2091401 h 6876000"/>
              <a:gd name="connsiteX48" fmla="*/ 2113836 w 5545537"/>
              <a:gd name="connsiteY48" fmla="*/ 1569343 h 6876000"/>
              <a:gd name="connsiteX49" fmla="*/ 2635894 w 5545537"/>
              <a:gd name="connsiteY49" fmla="*/ 1047285 h 6876000"/>
              <a:gd name="connsiteX50" fmla="*/ 2649648 w 5545537"/>
              <a:gd name="connsiteY50" fmla="*/ 1048672 h 6876000"/>
              <a:gd name="connsiteX51" fmla="*/ 2649648 w 5545537"/>
              <a:gd name="connsiteY51" fmla="*/ 1043268 h 6876000"/>
              <a:gd name="connsiteX52" fmla="*/ 2689899 w 5545537"/>
              <a:gd name="connsiteY52" fmla="*/ 1039210 h 6876000"/>
              <a:gd name="connsiteX53" fmla="*/ 2689899 w 5545537"/>
              <a:gd name="connsiteY53" fmla="*/ 1038672 h 6876000"/>
              <a:gd name="connsiteX54" fmla="*/ 2635893 w 5545537"/>
              <a:gd name="connsiteY54" fmla="*/ 1044116 h 6876000"/>
              <a:gd name="connsiteX55" fmla="*/ 2113835 w 5545537"/>
              <a:gd name="connsiteY55" fmla="*/ 522058 h 6876000"/>
              <a:gd name="connsiteX56" fmla="*/ 2635893 w 5545537"/>
              <a:gd name="connsiteY56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1067337 w 5545537"/>
              <a:gd name="connsiteY14" fmla="*/ 6863300 h 6876000"/>
              <a:gd name="connsiteX15" fmla="*/ 1069719 w 5545537"/>
              <a:gd name="connsiteY15" fmla="*/ 6318334 h 6876000"/>
              <a:gd name="connsiteX16" fmla="*/ 1069720 w 5545537"/>
              <a:gd name="connsiteY16" fmla="*/ 6318321 h 6876000"/>
              <a:gd name="connsiteX17" fmla="*/ 1069719 w 5545537"/>
              <a:gd name="connsiteY17" fmla="*/ 6318310 h 6876000"/>
              <a:gd name="connsiteX18" fmla="*/ 1061010 w 5545537"/>
              <a:gd name="connsiteY18" fmla="*/ 6219603 h 6876000"/>
              <a:gd name="connsiteX19" fmla="*/ 624433 w 5545537"/>
              <a:gd name="connsiteY19" fmla="*/ 5771972 h 6876000"/>
              <a:gd name="connsiteX20" fmla="*/ 426816 w 5545537"/>
              <a:gd name="connsiteY20" fmla="*/ 5735384 h 6876000"/>
              <a:gd name="connsiteX21" fmla="*/ 9971 w 5545537"/>
              <a:gd name="connsiteY21" fmla="*/ 5223932 h 6876000"/>
              <a:gd name="connsiteX22" fmla="*/ 426816 w 5545537"/>
              <a:gd name="connsiteY22" fmla="*/ 4712481 h 6876000"/>
              <a:gd name="connsiteX23" fmla="*/ 512040 w 5545537"/>
              <a:gd name="connsiteY23" fmla="*/ 4703889 h 6876000"/>
              <a:gd name="connsiteX24" fmla="*/ 512040 w 5545537"/>
              <a:gd name="connsiteY24" fmla="*/ 4703511 h 6876000"/>
              <a:gd name="connsiteX25" fmla="*/ 423086 w 5545537"/>
              <a:gd name="connsiteY25" fmla="*/ 4694544 h 6876000"/>
              <a:gd name="connsiteX26" fmla="*/ 0 w 5545537"/>
              <a:gd name="connsiteY26" fmla="*/ 4175435 h 6876000"/>
              <a:gd name="connsiteX27" fmla="*/ 529874 w 5545537"/>
              <a:gd name="connsiteY27" fmla="*/ 3645561 h 6876000"/>
              <a:gd name="connsiteX28" fmla="*/ 1048983 w 5545537"/>
              <a:gd name="connsiteY28" fmla="*/ 4068647 h 6876000"/>
              <a:gd name="connsiteX29" fmla="*/ 1057146 w 5545537"/>
              <a:gd name="connsiteY29" fmla="*/ 4149617 h 6876000"/>
              <a:gd name="connsiteX30" fmla="*/ 1069719 w 5545537"/>
              <a:gd name="connsiteY30" fmla="*/ 4620012 h 6876000"/>
              <a:gd name="connsiteX31" fmla="*/ 1095113 w 5545537"/>
              <a:gd name="connsiteY31" fmla="*/ 4538207 h 6876000"/>
              <a:gd name="connsiteX32" fmla="*/ 1576145 w 5545537"/>
              <a:gd name="connsiteY32" fmla="*/ 4219357 h 6876000"/>
              <a:gd name="connsiteX33" fmla="*/ 1609779 w 5545537"/>
              <a:gd name="connsiteY33" fmla="*/ 4222748 h 6876000"/>
              <a:gd name="connsiteX34" fmla="*/ 1609779 w 5545537"/>
              <a:gd name="connsiteY34" fmla="*/ 4205666 h 6876000"/>
              <a:gd name="connsiteX35" fmla="*/ 1577115 w 5545537"/>
              <a:gd name="connsiteY35" fmla="*/ 4208959 h 6876000"/>
              <a:gd name="connsiteX36" fmla="*/ 1055057 w 5545537"/>
              <a:gd name="connsiteY36" fmla="*/ 3686901 h 6876000"/>
              <a:gd name="connsiteX37" fmla="*/ 1577115 w 5545537"/>
              <a:gd name="connsiteY37" fmla="*/ 3164843 h 6876000"/>
              <a:gd name="connsiteX38" fmla="*/ 2088567 w 5545537"/>
              <a:gd name="connsiteY38" fmla="*/ 3581688 h 6876000"/>
              <a:gd name="connsiteX39" fmla="*/ 2098635 w 5545537"/>
              <a:gd name="connsiteY39" fmla="*/ 3681565 h 6876000"/>
              <a:gd name="connsiteX40" fmla="*/ 2113837 w 5545537"/>
              <a:gd name="connsiteY40" fmla="*/ 3681565 h 6876000"/>
              <a:gd name="connsiteX41" fmla="*/ 2113837 w 5545537"/>
              <a:gd name="connsiteY41" fmla="*/ 2637449 h 6876000"/>
              <a:gd name="connsiteX42" fmla="*/ 2114775 w 5545537"/>
              <a:gd name="connsiteY42" fmla="*/ 2637449 h 6876000"/>
              <a:gd name="connsiteX43" fmla="*/ 2113835 w 5545537"/>
              <a:gd name="connsiteY43" fmla="*/ 2628122 h 6876000"/>
              <a:gd name="connsiteX44" fmla="*/ 2635893 w 5545537"/>
              <a:gd name="connsiteY44" fmla="*/ 2106064 h 6876000"/>
              <a:gd name="connsiteX45" fmla="*/ 2649648 w 5545537"/>
              <a:gd name="connsiteY45" fmla="*/ 2107451 h 6876000"/>
              <a:gd name="connsiteX46" fmla="*/ 2649648 w 5545537"/>
              <a:gd name="connsiteY46" fmla="*/ 2090015 h 6876000"/>
              <a:gd name="connsiteX47" fmla="*/ 2635894 w 5545537"/>
              <a:gd name="connsiteY47" fmla="*/ 2091401 h 6876000"/>
              <a:gd name="connsiteX48" fmla="*/ 2113836 w 5545537"/>
              <a:gd name="connsiteY48" fmla="*/ 1569343 h 6876000"/>
              <a:gd name="connsiteX49" fmla="*/ 2635894 w 5545537"/>
              <a:gd name="connsiteY49" fmla="*/ 1047285 h 6876000"/>
              <a:gd name="connsiteX50" fmla="*/ 2649648 w 5545537"/>
              <a:gd name="connsiteY50" fmla="*/ 1048672 h 6876000"/>
              <a:gd name="connsiteX51" fmla="*/ 2649648 w 5545537"/>
              <a:gd name="connsiteY51" fmla="*/ 1043268 h 6876000"/>
              <a:gd name="connsiteX52" fmla="*/ 2689899 w 5545537"/>
              <a:gd name="connsiteY52" fmla="*/ 1039210 h 6876000"/>
              <a:gd name="connsiteX53" fmla="*/ 2689899 w 5545537"/>
              <a:gd name="connsiteY53" fmla="*/ 1038672 h 6876000"/>
              <a:gd name="connsiteX54" fmla="*/ 2635893 w 5545537"/>
              <a:gd name="connsiteY54" fmla="*/ 1044116 h 6876000"/>
              <a:gd name="connsiteX55" fmla="*/ 2113835 w 5545537"/>
              <a:gd name="connsiteY55" fmla="*/ 522058 h 6876000"/>
              <a:gd name="connsiteX56" fmla="*/ 2635893 w 5545537"/>
              <a:gd name="connsiteY56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1067337 w 5545537"/>
              <a:gd name="connsiteY14" fmla="*/ 6863300 h 6876000"/>
              <a:gd name="connsiteX15" fmla="*/ 1069719 w 5545537"/>
              <a:gd name="connsiteY15" fmla="*/ 6318334 h 6876000"/>
              <a:gd name="connsiteX16" fmla="*/ 1069720 w 5545537"/>
              <a:gd name="connsiteY16" fmla="*/ 6318321 h 6876000"/>
              <a:gd name="connsiteX17" fmla="*/ 1069719 w 5545537"/>
              <a:gd name="connsiteY17" fmla="*/ 6318310 h 6876000"/>
              <a:gd name="connsiteX18" fmla="*/ 1061010 w 5545537"/>
              <a:gd name="connsiteY18" fmla="*/ 6219603 h 6876000"/>
              <a:gd name="connsiteX19" fmla="*/ 624433 w 5545537"/>
              <a:gd name="connsiteY19" fmla="*/ 5771972 h 6876000"/>
              <a:gd name="connsiteX20" fmla="*/ 426816 w 5545537"/>
              <a:gd name="connsiteY20" fmla="*/ 5735384 h 6876000"/>
              <a:gd name="connsiteX21" fmla="*/ 9971 w 5545537"/>
              <a:gd name="connsiteY21" fmla="*/ 5223932 h 6876000"/>
              <a:gd name="connsiteX22" fmla="*/ 426816 w 5545537"/>
              <a:gd name="connsiteY22" fmla="*/ 4712481 h 6876000"/>
              <a:gd name="connsiteX23" fmla="*/ 512040 w 5545537"/>
              <a:gd name="connsiteY23" fmla="*/ 4703889 h 6876000"/>
              <a:gd name="connsiteX24" fmla="*/ 512040 w 5545537"/>
              <a:gd name="connsiteY24" fmla="*/ 4703511 h 6876000"/>
              <a:gd name="connsiteX25" fmla="*/ 423086 w 5545537"/>
              <a:gd name="connsiteY25" fmla="*/ 4694544 h 6876000"/>
              <a:gd name="connsiteX26" fmla="*/ 0 w 5545537"/>
              <a:gd name="connsiteY26" fmla="*/ 4175435 h 6876000"/>
              <a:gd name="connsiteX27" fmla="*/ 529874 w 5545537"/>
              <a:gd name="connsiteY27" fmla="*/ 3645561 h 6876000"/>
              <a:gd name="connsiteX28" fmla="*/ 1048983 w 5545537"/>
              <a:gd name="connsiteY28" fmla="*/ 4068647 h 6876000"/>
              <a:gd name="connsiteX29" fmla="*/ 1057146 w 5545537"/>
              <a:gd name="connsiteY29" fmla="*/ 4149617 h 6876000"/>
              <a:gd name="connsiteX30" fmla="*/ 1069719 w 5545537"/>
              <a:gd name="connsiteY30" fmla="*/ 4620012 h 6876000"/>
              <a:gd name="connsiteX31" fmla="*/ 1095113 w 5545537"/>
              <a:gd name="connsiteY31" fmla="*/ 4538207 h 6876000"/>
              <a:gd name="connsiteX32" fmla="*/ 1576145 w 5545537"/>
              <a:gd name="connsiteY32" fmla="*/ 4219357 h 6876000"/>
              <a:gd name="connsiteX33" fmla="*/ 1609779 w 5545537"/>
              <a:gd name="connsiteY33" fmla="*/ 4222748 h 6876000"/>
              <a:gd name="connsiteX34" fmla="*/ 1609779 w 5545537"/>
              <a:gd name="connsiteY34" fmla="*/ 4205666 h 6876000"/>
              <a:gd name="connsiteX35" fmla="*/ 1577115 w 5545537"/>
              <a:gd name="connsiteY35" fmla="*/ 4208959 h 6876000"/>
              <a:gd name="connsiteX36" fmla="*/ 1055057 w 5545537"/>
              <a:gd name="connsiteY36" fmla="*/ 3686901 h 6876000"/>
              <a:gd name="connsiteX37" fmla="*/ 1577115 w 5545537"/>
              <a:gd name="connsiteY37" fmla="*/ 3164843 h 6876000"/>
              <a:gd name="connsiteX38" fmla="*/ 2088567 w 5545537"/>
              <a:gd name="connsiteY38" fmla="*/ 3581688 h 6876000"/>
              <a:gd name="connsiteX39" fmla="*/ 2098635 w 5545537"/>
              <a:gd name="connsiteY39" fmla="*/ 3681565 h 6876000"/>
              <a:gd name="connsiteX40" fmla="*/ 2113837 w 5545537"/>
              <a:gd name="connsiteY40" fmla="*/ 3681565 h 6876000"/>
              <a:gd name="connsiteX41" fmla="*/ 2113837 w 5545537"/>
              <a:gd name="connsiteY41" fmla="*/ 2637449 h 6876000"/>
              <a:gd name="connsiteX42" fmla="*/ 2114775 w 5545537"/>
              <a:gd name="connsiteY42" fmla="*/ 2637449 h 6876000"/>
              <a:gd name="connsiteX43" fmla="*/ 2113835 w 5545537"/>
              <a:gd name="connsiteY43" fmla="*/ 2628122 h 6876000"/>
              <a:gd name="connsiteX44" fmla="*/ 2635893 w 5545537"/>
              <a:gd name="connsiteY44" fmla="*/ 2106064 h 6876000"/>
              <a:gd name="connsiteX45" fmla="*/ 2649648 w 5545537"/>
              <a:gd name="connsiteY45" fmla="*/ 2107451 h 6876000"/>
              <a:gd name="connsiteX46" fmla="*/ 2649648 w 5545537"/>
              <a:gd name="connsiteY46" fmla="*/ 2090015 h 6876000"/>
              <a:gd name="connsiteX47" fmla="*/ 2635894 w 5545537"/>
              <a:gd name="connsiteY47" fmla="*/ 2091401 h 6876000"/>
              <a:gd name="connsiteX48" fmla="*/ 2113836 w 5545537"/>
              <a:gd name="connsiteY48" fmla="*/ 1569343 h 6876000"/>
              <a:gd name="connsiteX49" fmla="*/ 2635894 w 5545537"/>
              <a:gd name="connsiteY49" fmla="*/ 1047285 h 6876000"/>
              <a:gd name="connsiteX50" fmla="*/ 2649648 w 5545537"/>
              <a:gd name="connsiteY50" fmla="*/ 1048672 h 6876000"/>
              <a:gd name="connsiteX51" fmla="*/ 2649648 w 5545537"/>
              <a:gd name="connsiteY51" fmla="*/ 1043268 h 6876000"/>
              <a:gd name="connsiteX52" fmla="*/ 2689899 w 5545537"/>
              <a:gd name="connsiteY52" fmla="*/ 1039210 h 6876000"/>
              <a:gd name="connsiteX53" fmla="*/ 2689899 w 5545537"/>
              <a:gd name="connsiteY53" fmla="*/ 1038672 h 6876000"/>
              <a:gd name="connsiteX54" fmla="*/ 2635893 w 5545537"/>
              <a:gd name="connsiteY54" fmla="*/ 1044116 h 6876000"/>
              <a:gd name="connsiteX55" fmla="*/ 2113835 w 5545537"/>
              <a:gd name="connsiteY55" fmla="*/ 522058 h 6876000"/>
              <a:gd name="connsiteX56" fmla="*/ 2635893 w 5545537"/>
              <a:gd name="connsiteY56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1067337 w 5545537"/>
              <a:gd name="connsiteY14" fmla="*/ 6863300 h 6876000"/>
              <a:gd name="connsiteX15" fmla="*/ 1069719 w 5545537"/>
              <a:gd name="connsiteY15" fmla="*/ 6318334 h 6876000"/>
              <a:gd name="connsiteX16" fmla="*/ 1069720 w 5545537"/>
              <a:gd name="connsiteY16" fmla="*/ 6318321 h 6876000"/>
              <a:gd name="connsiteX17" fmla="*/ 1069719 w 5545537"/>
              <a:gd name="connsiteY17" fmla="*/ 6318310 h 6876000"/>
              <a:gd name="connsiteX18" fmla="*/ 1061010 w 5545537"/>
              <a:gd name="connsiteY18" fmla="*/ 6219603 h 6876000"/>
              <a:gd name="connsiteX19" fmla="*/ 624433 w 5545537"/>
              <a:gd name="connsiteY19" fmla="*/ 5771972 h 6876000"/>
              <a:gd name="connsiteX20" fmla="*/ 426816 w 5545537"/>
              <a:gd name="connsiteY20" fmla="*/ 5735384 h 6876000"/>
              <a:gd name="connsiteX21" fmla="*/ 9971 w 5545537"/>
              <a:gd name="connsiteY21" fmla="*/ 5223932 h 6876000"/>
              <a:gd name="connsiteX22" fmla="*/ 426816 w 5545537"/>
              <a:gd name="connsiteY22" fmla="*/ 4712481 h 6876000"/>
              <a:gd name="connsiteX23" fmla="*/ 512040 w 5545537"/>
              <a:gd name="connsiteY23" fmla="*/ 4703889 h 6876000"/>
              <a:gd name="connsiteX24" fmla="*/ 512040 w 5545537"/>
              <a:gd name="connsiteY24" fmla="*/ 4703511 h 6876000"/>
              <a:gd name="connsiteX25" fmla="*/ 423086 w 5545537"/>
              <a:gd name="connsiteY25" fmla="*/ 4694544 h 6876000"/>
              <a:gd name="connsiteX26" fmla="*/ 0 w 5545537"/>
              <a:gd name="connsiteY26" fmla="*/ 4175435 h 6876000"/>
              <a:gd name="connsiteX27" fmla="*/ 529874 w 5545537"/>
              <a:gd name="connsiteY27" fmla="*/ 3645561 h 6876000"/>
              <a:gd name="connsiteX28" fmla="*/ 1048983 w 5545537"/>
              <a:gd name="connsiteY28" fmla="*/ 4068647 h 6876000"/>
              <a:gd name="connsiteX29" fmla="*/ 1057146 w 5545537"/>
              <a:gd name="connsiteY29" fmla="*/ 4149617 h 6876000"/>
              <a:gd name="connsiteX30" fmla="*/ 1069719 w 5545537"/>
              <a:gd name="connsiteY30" fmla="*/ 4620012 h 6876000"/>
              <a:gd name="connsiteX31" fmla="*/ 1095113 w 5545537"/>
              <a:gd name="connsiteY31" fmla="*/ 4538207 h 6876000"/>
              <a:gd name="connsiteX32" fmla="*/ 1576145 w 5545537"/>
              <a:gd name="connsiteY32" fmla="*/ 4219357 h 6876000"/>
              <a:gd name="connsiteX33" fmla="*/ 1609779 w 5545537"/>
              <a:gd name="connsiteY33" fmla="*/ 4222748 h 6876000"/>
              <a:gd name="connsiteX34" fmla="*/ 1609779 w 5545537"/>
              <a:gd name="connsiteY34" fmla="*/ 4205666 h 6876000"/>
              <a:gd name="connsiteX35" fmla="*/ 1577115 w 5545537"/>
              <a:gd name="connsiteY35" fmla="*/ 4208959 h 6876000"/>
              <a:gd name="connsiteX36" fmla="*/ 1055057 w 5545537"/>
              <a:gd name="connsiteY36" fmla="*/ 3686901 h 6876000"/>
              <a:gd name="connsiteX37" fmla="*/ 1577115 w 5545537"/>
              <a:gd name="connsiteY37" fmla="*/ 3164843 h 6876000"/>
              <a:gd name="connsiteX38" fmla="*/ 2088567 w 5545537"/>
              <a:gd name="connsiteY38" fmla="*/ 3581688 h 6876000"/>
              <a:gd name="connsiteX39" fmla="*/ 2098635 w 5545537"/>
              <a:gd name="connsiteY39" fmla="*/ 3681565 h 6876000"/>
              <a:gd name="connsiteX40" fmla="*/ 2113837 w 5545537"/>
              <a:gd name="connsiteY40" fmla="*/ 3681565 h 6876000"/>
              <a:gd name="connsiteX41" fmla="*/ 2113837 w 5545537"/>
              <a:gd name="connsiteY41" fmla="*/ 2637449 h 6876000"/>
              <a:gd name="connsiteX42" fmla="*/ 2114775 w 5545537"/>
              <a:gd name="connsiteY42" fmla="*/ 2637449 h 6876000"/>
              <a:gd name="connsiteX43" fmla="*/ 2113835 w 5545537"/>
              <a:gd name="connsiteY43" fmla="*/ 2628122 h 6876000"/>
              <a:gd name="connsiteX44" fmla="*/ 2635893 w 5545537"/>
              <a:gd name="connsiteY44" fmla="*/ 2106064 h 6876000"/>
              <a:gd name="connsiteX45" fmla="*/ 2649648 w 5545537"/>
              <a:gd name="connsiteY45" fmla="*/ 2107451 h 6876000"/>
              <a:gd name="connsiteX46" fmla="*/ 2649648 w 5545537"/>
              <a:gd name="connsiteY46" fmla="*/ 2090015 h 6876000"/>
              <a:gd name="connsiteX47" fmla="*/ 2635894 w 5545537"/>
              <a:gd name="connsiteY47" fmla="*/ 2091401 h 6876000"/>
              <a:gd name="connsiteX48" fmla="*/ 2113836 w 5545537"/>
              <a:gd name="connsiteY48" fmla="*/ 1569343 h 6876000"/>
              <a:gd name="connsiteX49" fmla="*/ 2635894 w 5545537"/>
              <a:gd name="connsiteY49" fmla="*/ 1047285 h 6876000"/>
              <a:gd name="connsiteX50" fmla="*/ 2649648 w 5545537"/>
              <a:gd name="connsiteY50" fmla="*/ 1048672 h 6876000"/>
              <a:gd name="connsiteX51" fmla="*/ 2649648 w 5545537"/>
              <a:gd name="connsiteY51" fmla="*/ 1043268 h 6876000"/>
              <a:gd name="connsiteX52" fmla="*/ 2689899 w 5545537"/>
              <a:gd name="connsiteY52" fmla="*/ 1039210 h 6876000"/>
              <a:gd name="connsiteX53" fmla="*/ 2689899 w 5545537"/>
              <a:gd name="connsiteY53" fmla="*/ 1038672 h 6876000"/>
              <a:gd name="connsiteX54" fmla="*/ 2635893 w 5545537"/>
              <a:gd name="connsiteY54" fmla="*/ 1044116 h 6876000"/>
              <a:gd name="connsiteX55" fmla="*/ 2113835 w 5545537"/>
              <a:gd name="connsiteY55" fmla="*/ 522058 h 6876000"/>
              <a:gd name="connsiteX56" fmla="*/ 2635893 w 5545537"/>
              <a:gd name="connsiteY56" fmla="*/ 0 h 6876000"/>
              <a:gd name="connsiteX0" fmla="*/ 1577115 w 5545537"/>
              <a:gd name="connsiteY0" fmla="*/ 2106064 h 6876022"/>
              <a:gd name="connsiteX1" fmla="*/ 2099173 w 5545537"/>
              <a:gd name="connsiteY1" fmla="*/ 2628122 h 6876022"/>
              <a:gd name="connsiteX2" fmla="*/ 1577115 w 5545537"/>
              <a:gd name="connsiteY2" fmla="*/ 3150180 h 6876022"/>
              <a:gd name="connsiteX3" fmla="*/ 1055057 w 5545537"/>
              <a:gd name="connsiteY3" fmla="*/ 2628122 h 6876022"/>
              <a:gd name="connsiteX4" fmla="*/ 1577115 w 5545537"/>
              <a:gd name="connsiteY4" fmla="*/ 2106064 h 6876022"/>
              <a:gd name="connsiteX5" fmla="*/ 2635893 w 5545537"/>
              <a:gd name="connsiteY5" fmla="*/ 0 h 6876022"/>
              <a:gd name="connsiteX6" fmla="*/ 2649648 w 5545537"/>
              <a:gd name="connsiteY6" fmla="*/ 1387 h 6876022"/>
              <a:gd name="connsiteX7" fmla="*/ 2649648 w 5545537"/>
              <a:gd name="connsiteY7" fmla="*/ 537 h 6876022"/>
              <a:gd name="connsiteX8" fmla="*/ 2689899 w 5545537"/>
              <a:gd name="connsiteY8" fmla="*/ 537 h 6876022"/>
              <a:gd name="connsiteX9" fmla="*/ 2689899 w 5545537"/>
              <a:gd name="connsiteY9" fmla="*/ 0 h 6876022"/>
              <a:gd name="connsiteX10" fmla="*/ 3846766 w 5545537"/>
              <a:gd name="connsiteY10" fmla="*/ 0 h 6876022"/>
              <a:gd name="connsiteX11" fmla="*/ 3846766 w 5545537"/>
              <a:gd name="connsiteY11" fmla="*/ 537 h 6876022"/>
              <a:gd name="connsiteX12" fmla="*/ 5545537 w 5545537"/>
              <a:gd name="connsiteY12" fmla="*/ 537 h 6876022"/>
              <a:gd name="connsiteX13" fmla="*/ 5545537 w 5545537"/>
              <a:gd name="connsiteY13" fmla="*/ 6876000 h 6876022"/>
              <a:gd name="connsiteX14" fmla="*/ 1067337 w 5545537"/>
              <a:gd name="connsiteY14" fmla="*/ 6863300 h 6876022"/>
              <a:gd name="connsiteX15" fmla="*/ 1069719 w 5545537"/>
              <a:gd name="connsiteY15" fmla="*/ 6318334 h 6876022"/>
              <a:gd name="connsiteX16" fmla="*/ 1069720 w 5545537"/>
              <a:gd name="connsiteY16" fmla="*/ 6318321 h 6876022"/>
              <a:gd name="connsiteX17" fmla="*/ 1069719 w 5545537"/>
              <a:gd name="connsiteY17" fmla="*/ 6318310 h 6876022"/>
              <a:gd name="connsiteX18" fmla="*/ 1061010 w 5545537"/>
              <a:gd name="connsiteY18" fmla="*/ 6219603 h 6876022"/>
              <a:gd name="connsiteX19" fmla="*/ 624433 w 5545537"/>
              <a:gd name="connsiteY19" fmla="*/ 5771972 h 6876022"/>
              <a:gd name="connsiteX20" fmla="*/ 426816 w 5545537"/>
              <a:gd name="connsiteY20" fmla="*/ 5735384 h 6876022"/>
              <a:gd name="connsiteX21" fmla="*/ 9971 w 5545537"/>
              <a:gd name="connsiteY21" fmla="*/ 5223932 h 6876022"/>
              <a:gd name="connsiteX22" fmla="*/ 426816 w 5545537"/>
              <a:gd name="connsiteY22" fmla="*/ 4712481 h 6876022"/>
              <a:gd name="connsiteX23" fmla="*/ 512040 w 5545537"/>
              <a:gd name="connsiteY23" fmla="*/ 4703889 h 6876022"/>
              <a:gd name="connsiteX24" fmla="*/ 512040 w 5545537"/>
              <a:gd name="connsiteY24" fmla="*/ 4703511 h 6876022"/>
              <a:gd name="connsiteX25" fmla="*/ 423086 w 5545537"/>
              <a:gd name="connsiteY25" fmla="*/ 4694544 h 6876022"/>
              <a:gd name="connsiteX26" fmla="*/ 0 w 5545537"/>
              <a:gd name="connsiteY26" fmla="*/ 4175435 h 6876022"/>
              <a:gd name="connsiteX27" fmla="*/ 529874 w 5545537"/>
              <a:gd name="connsiteY27" fmla="*/ 3645561 h 6876022"/>
              <a:gd name="connsiteX28" fmla="*/ 1048983 w 5545537"/>
              <a:gd name="connsiteY28" fmla="*/ 4068647 h 6876022"/>
              <a:gd name="connsiteX29" fmla="*/ 1057146 w 5545537"/>
              <a:gd name="connsiteY29" fmla="*/ 4149617 h 6876022"/>
              <a:gd name="connsiteX30" fmla="*/ 1069719 w 5545537"/>
              <a:gd name="connsiteY30" fmla="*/ 4620012 h 6876022"/>
              <a:gd name="connsiteX31" fmla="*/ 1095113 w 5545537"/>
              <a:gd name="connsiteY31" fmla="*/ 4538207 h 6876022"/>
              <a:gd name="connsiteX32" fmla="*/ 1576145 w 5545537"/>
              <a:gd name="connsiteY32" fmla="*/ 4219357 h 6876022"/>
              <a:gd name="connsiteX33" fmla="*/ 1609779 w 5545537"/>
              <a:gd name="connsiteY33" fmla="*/ 4222748 h 6876022"/>
              <a:gd name="connsiteX34" fmla="*/ 1609779 w 5545537"/>
              <a:gd name="connsiteY34" fmla="*/ 4205666 h 6876022"/>
              <a:gd name="connsiteX35" fmla="*/ 1577115 w 5545537"/>
              <a:gd name="connsiteY35" fmla="*/ 4208959 h 6876022"/>
              <a:gd name="connsiteX36" fmla="*/ 1055057 w 5545537"/>
              <a:gd name="connsiteY36" fmla="*/ 3686901 h 6876022"/>
              <a:gd name="connsiteX37" fmla="*/ 1577115 w 5545537"/>
              <a:gd name="connsiteY37" fmla="*/ 3164843 h 6876022"/>
              <a:gd name="connsiteX38" fmla="*/ 2088567 w 5545537"/>
              <a:gd name="connsiteY38" fmla="*/ 3581688 h 6876022"/>
              <a:gd name="connsiteX39" fmla="*/ 2098635 w 5545537"/>
              <a:gd name="connsiteY39" fmla="*/ 3681565 h 6876022"/>
              <a:gd name="connsiteX40" fmla="*/ 2113837 w 5545537"/>
              <a:gd name="connsiteY40" fmla="*/ 3681565 h 6876022"/>
              <a:gd name="connsiteX41" fmla="*/ 2113837 w 5545537"/>
              <a:gd name="connsiteY41" fmla="*/ 2637449 h 6876022"/>
              <a:gd name="connsiteX42" fmla="*/ 2114775 w 5545537"/>
              <a:gd name="connsiteY42" fmla="*/ 2637449 h 6876022"/>
              <a:gd name="connsiteX43" fmla="*/ 2113835 w 5545537"/>
              <a:gd name="connsiteY43" fmla="*/ 2628122 h 6876022"/>
              <a:gd name="connsiteX44" fmla="*/ 2635893 w 5545537"/>
              <a:gd name="connsiteY44" fmla="*/ 2106064 h 6876022"/>
              <a:gd name="connsiteX45" fmla="*/ 2649648 w 5545537"/>
              <a:gd name="connsiteY45" fmla="*/ 2107451 h 6876022"/>
              <a:gd name="connsiteX46" fmla="*/ 2649648 w 5545537"/>
              <a:gd name="connsiteY46" fmla="*/ 2090015 h 6876022"/>
              <a:gd name="connsiteX47" fmla="*/ 2635894 w 5545537"/>
              <a:gd name="connsiteY47" fmla="*/ 2091401 h 6876022"/>
              <a:gd name="connsiteX48" fmla="*/ 2113836 w 5545537"/>
              <a:gd name="connsiteY48" fmla="*/ 1569343 h 6876022"/>
              <a:gd name="connsiteX49" fmla="*/ 2635894 w 5545537"/>
              <a:gd name="connsiteY49" fmla="*/ 1047285 h 6876022"/>
              <a:gd name="connsiteX50" fmla="*/ 2649648 w 5545537"/>
              <a:gd name="connsiteY50" fmla="*/ 1048672 h 6876022"/>
              <a:gd name="connsiteX51" fmla="*/ 2649648 w 5545537"/>
              <a:gd name="connsiteY51" fmla="*/ 1043268 h 6876022"/>
              <a:gd name="connsiteX52" fmla="*/ 2689899 w 5545537"/>
              <a:gd name="connsiteY52" fmla="*/ 1039210 h 6876022"/>
              <a:gd name="connsiteX53" fmla="*/ 2689899 w 5545537"/>
              <a:gd name="connsiteY53" fmla="*/ 1038672 h 6876022"/>
              <a:gd name="connsiteX54" fmla="*/ 2635893 w 5545537"/>
              <a:gd name="connsiteY54" fmla="*/ 1044116 h 6876022"/>
              <a:gd name="connsiteX55" fmla="*/ 2113835 w 5545537"/>
              <a:gd name="connsiteY55" fmla="*/ 522058 h 6876022"/>
              <a:gd name="connsiteX56" fmla="*/ 2635893 w 5545537"/>
              <a:gd name="connsiteY56" fmla="*/ 0 h 6876022"/>
              <a:gd name="connsiteX0" fmla="*/ 1577115 w 5545537"/>
              <a:gd name="connsiteY0" fmla="*/ 2106064 h 6876003"/>
              <a:gd name="connsiteX1" fmla="*/ 2099173 w 5545537"/>
              <a:gd name="connsiteY1" fmla="*/ 2628122 h 6876003"/>
              <a:gd name="connsiteX2" fmla="*/ 1577115 w 5545537"/>
              <a:gd name="connsiteY2" fmla="*/ 3150180 h 6876003"/>
              <a:gd name="connsiteX3" fmla="*/ 1055057 w 5545537"/>
              <a:gd name="connsiteY3" fmla="*/ 2628122 h 6876003"/>
              <a:gd name="connsiteX4" fmla="*/ 1577115 w 5545537"/>
              <a:gd name="connsiteY4" fmla="*/ 2106064 h 6876003"/>
              <a:gd name="connsiteX5" fmla="*/ 2635893 w 5545537"/>
              <a:gd name="connsiteY5" fmla="*/ 0 h 6876003"/>
              <a:gd name="connsiteX6" fmla="*/ 2649648 w 5545537"/>
              <a:gd name="connsiteY6" fmla="*/ 1387 h 6876003"/>
              <a:gd name="connsiteX7" fmla="*/ 2649648 w 5545537"/>
              <a:gd name="connsiteY7" fmla="*/ 537 h 6876003"/>
              <a:gd name="connsiteX8" fmla="*/ 2689899 w 5545537"/>
              <a:gd name="connsiteY8" fmla="*/ 537 h 6876003"/>
              <a:gd name="connsiteX9" fmla="*/ 2689899 w 5545537"/>
              <a:gd name="connsiteY9" fmla="*/ 0 h 6876003"/>
              <a:gd name="connsiteX10" fmla="*/ 3846766 w 5545537"/>
              <a:gd name="connsiteY10" fmla="*/ 0 h 6876003"/>
              <a:gd name="connsiteX11" fmla="*/ 3846766 w 5545537"/>
              <a:gd name="connsiteY11" fmla="*/ 537 h 6876003"/>
              <a:gd name="connsiteX12" fmla="*/ 5545537 w 5545537"/>
              <a:gd name="connsiteY12" fmla="*/ 537 h 6876003"/>
              <a:gd name="connsiteX13" fmla="*/ 5545537 w 5545537"/>
              <a:gd name="connsiteY13" fmla="*/ 6876000 h 6876003"/>
              <a:gd name="connsiteX14" fmla="*/ 1064761 w 5545537"/>
              <a:gd name="connsiteY14" fmla="*/ 6804058 h 6876003"/>
              <a:gd name="connsiteX15" fmla="*/ 1069719 w 5545537"/>
              <a:gd name="connsiteY15" fmla="*/ 6318334 h 6876003"/>
              <a:gd name="connsiteX16" fmla="*/ 1069720 w 5545537"/>
              <a:gd name="connsiteY16" fmla="*/ 6318321 h 6876003"/>
              <a:gd name="connsiteX17" fmla="*/ 1069719 w 5545537"/>
              <a:gd name="connsiteY17" fmla="*/ 6318310 h 6876003"/>
              <a:gd name="connsiteX18" fmla="*/ 1061010 w 5545537"/>
              <a:gd name="connsiteY18" fmla="*/ 6219603 h 6876003"/>
              <a:gd name="connsiteX19" fmla="*/ 624433 w 5545537"/>
              <a:gd name="connsiteY19" fmla="*/ 5771972 h 6876003"/>
              <a:gd name="connsiteX20" fmla="*/ 426816 w 5545537"/>
              <a:gd name="connsiteY20" fmla="*/ 5735384 h 6876003"/>
              <a:gd name="connsiteX21" fmla="*/ 9971 w 5545537"/>
              <a:gd name="connsiteY21" fmla="*/ 5223932 h 6876003"/>
              <a:gd name="connsiteX22" fmla="*/ 426816 w 5545537"/>
              <a:gd name="connsiteY22" fmla="*/ 4712481 h 6876003"/>
              <a:gd name="connsiteX23" fmla="*/ 512040 w 5545537"/>
              <a:gd name="connsiteY23" fmla="*/ 4703889 h 6876003"/>
              <a:gd name="connsiteX24" fmla="*/ 512040 w 5545537"/>
              <a:gd name="connsiteY24" fmla="*/ 4703511 h 6876003"/>
              <a:gd name="connsiteX25" fmla="*/ 423086 w 5545537"/>
              <a:gd name="connsiteY25" fmla="*/ 4694544 h 6876003"/>
              <a:gd name="connsiteX26" fmla="*/ 0 w 5545537"/>
              <a:gd name="connsiteY26" fmla="*/ 4175435 h 6876003"/>
              <a:gd name="connsiteX27" fmla="*/ 529874 w 5545537"/>
              <a:gd name="connsiteY27" fmla="*/ 3645561 h 6876003"/>
              <a:gd name="connsiteX28" fmla="*/ 1048983 w 5545537"/>
              <a:gd name="connsiteY28" fmla="*/ 4068647 h 6876003"/>
              <a:gd name="connsiteX29" fmla="*/ 1057146 w 5545537"/>
              <a:gd name="connsiteY29" fmla="*/ 4149617 h 6876003"/>
              <a:gd name="connsiteX30" fmla="*/ 1069719 w 5545537"/>
              <a:gd name="connsiteY30" fmla="*/ 4620012 h 6876003"/>
              <a:gd name="connsiteX31" fmla="*/ 1095113 w 5545537"/>
              <a:gd name="connsiteY31" fmla="*/ 4538207 h 6876003"/>
              <a:gd name="connsiteX32" fmla="*/ 1576145 w 5545537"/>
              <a:gd name="connsiteY32" fmla="*/ 4219357 h 6876003"/>
              <a:gd name="connsiteX33" fmla="*/ 1609779 w 5545537"/>
              <a:gd name="connsiteY33" fmla="*/ 4222748 h 6876003"/>
              <a:gd name="connsiteX34" fmla="*/ 1609779 w 5545537"/>
              <a:gd name="connsiteY34" fmla="*/ 4205666 h 6876003"/>
              <a:gd name="connsiteX35" fmla="*/ 1577115 w 5545537"/>
              <a:gd name="connsiteY35" fmla="*/ 4208959 h 6876003"/>
              <a:gd name="connsiteX36" fmla="*/ 1055057 w 5545537"/>
              <a:gd name="connsiteY36" fmla="*/ 3686901 h 6876003"/>
              <a:gd name="connsiteX37" fmla="*/ 1577115 w 5545537"/>
              <a:gd name="connsiteY37" fmla="*/ 3164843 h 6876003"/>
              <a:gd name="connsiteX38" fmla="*/ 2088567 w 5545537"/>
              <a:gd name="connsiteY38" fmla="*/ 3581688 h 6876003"/>
              <a:gd name="connsiteX39" fmla="*/ 2098635 w 5545537"/>
              <a:gd name="connsiteY39" fmla="*/ 3681565 h 6876003"/>
              <a:gd name="connsiteX40" fmla="*/ 2113837 w 5545537"/>
              <a:gd name="connsiteY40" fmla="*/ 3681565 h 6876003"/>
              <a:gd name="connsiteX41" fmla="*/ 2113837 w 5545537"/>
              <a:gd name="connsiteY41" fmla="*/ 2637449 h 6876003"/>
              <a:gd name="connsiteX42" fmla="*/ 2114775 w 5545537"/>
              <a:gd name="connsiteY42" fmla="*/ 2637449 h 6876003"/>
              <a:gd name="connsiteX43" fmla="*/ 2113835 w 5545537"/>
              <a:gd name="connsiteY43" fmla="*/ 2628122 h 6876003"/>
              <a:gd name="connsiteX44" fmla="*/ 2635893 w 5545537"/>
              <a:gd name="connsiteY44" fmla="*/ 2106064 h 6876003"/>
              <a:gd name="connsiteX45" fmla="*/ 2649648 w 5545537"/>
              <a:gd name="connsiteY45" fmla="*/ 2107451 h 6876003"/>
              <a:gd name="connsiteX46" fmla="*/ 2649648 w 5545537"/>
              <a:gd name="connsiteY46" fmla="*/ 2090015 h 6876003"/>
              <a:gd name="connsiteX47" fmla="*/ 2635894 w 5545537"/>
              <a:gd name="connsiteY47" fmla="*/ 2091401 h 6876003"/>
              <a:gd name="connsiteX48" fmla="*/ 2113836 w 5545537"/>
              <a:gd name="connsiteY48" fmla="*/ 1569343 h 6876003"/>
              <a:gd name="connsiteX49" fmla="*/ 2635894 w 5545537"/>
              <a:gd name="connsiteY49" fmla="*/ 1047285 h 6876003"/>
              <a:gd name="connsiteX50" fmla="*/ 2649648 w 5545537"/>
              <a:gd name="connsiteY50" fmla="*/ 1048672 h 6876003"/>
              <a:gd name="connsiteX51" fmla="*/ 2649648 w 5545537"/>
              <a:gd name="connsiteY51" fmla="*/ 1043268 h 6876003"/>
              <a:gd name="connsiteX52" fmla="*/ 2689899 w 5545537"/>
              <a:gd name="connsiteY52" fmla="*/ 1039210 h 6876003"/>
              <a:gd name="connsiteX53" fmla="*/ 2689899 w 5545537"/>
              <a:gd name="connsiteY53" fmla="*/ 1038672 h 6876003"/>
              <a:gd name="connsiteX54" fmla="*/ 2635893 w 5545537"/>
              <a:gd name="connsiteY54" fmla="*/ 1044116 h 6876003"/>
              <a:gd name="connsiteX55" fmla="*/ 2113835 w 5545537"/>
              <a:gd name="connsiteY55" fmla="*/ 522058 h 6876003"/>
              <a:gd name="connsiteX56" fmla="*/ 2635893 w 5545537"/>
              <a:gd name="connsiteY56" fmla="*/ 0 h 6876003"/>
              <a:gd name="connsiteX0" fmla="*/ 1577115 w 5545537"/>
              <a:gd name="connsiteY0" fmla="*/ 2106064 h 6876022"/>
              <a:gd name="connsiteX1" fmla="*/ 2099173 w 5545537"/>
              <a:gd name="connsiteY1" fmla="*/ 2628122 h 6876022"/>
              <a:gd name="connsiteX2" fmla="*/ 1577115 w 5545537"/>
              <a:gd name="connsiteY2" fmla="*/ 3150180 h 6876022"/>
              <a:gd name="connsiteX3" fmla="*/ 1055057 w 5545537"/>
              <a:gd name="connsiteY3" fmla="*/ 2628122 h 6876022"/>
              <a:gd name="connsiteX4" fmla="*/ 1577115 w 5545537"/>
              <a:gd name="connsiteY4" fmla="*/ 2106064 h 6876022"/>
              <a:gd name="connsiteX5" fmla="*/ 2635893 w 5545537"/>
              <a:gd name="connsiteY5" fmla="*/ 0 h 6876022"/>
              <a:gd name="connsiteX6" fmla="*/ 2649648 w 5545537"/>
              <a:gd name="connsiteY6" fmla="*/ 1387 h 6876022"/>
              <a:gd name="connsiteX7" fmla="*/ 2649648 w 5545537"/>
              <a:gd name="connsiteY7" fmla="*/ 537 h 6876022"/>
              <a:gd name="connsiteX8" fmla="*/ 2689899 w 5545537"/>
              <a:gd name="connsiteY8" fmla="*/ 537 h 6876022"/>
              <a:gd name="connsiteX9" fmla="*/ 2689899 w 5545537"/>
              <a:gd name="connsiteY9" fmla="*/ 0 h 6876022"/>
              <a:gd name="connsiteX10" fmla="*/ 3846766 w 5545537"/>
              <a:gd name="connsiteY10" fmla="*/ 0 h 6876022"/>
              <a:gd name="connsiteX11" fmla="*/ 3846766 w 5545537"/>
              <a:gd name="connsiteY11" fmla="*/ 537 h 6876022"/>
              <a:gd name="connsiteX12" fmla="*/ 5545537 w 5545537"/>
              <a:gd name="connsiteY12" fmla="*/ 537 h 6876022"/>
              <a:gd name="connsiteX13" fmla="*/ 5545537 w 5545537"/>
              <a:gd name="connsiteY13" fmla="*/ 6876000 h 6876022"/>
              <a:gd name="connsiteX14" fmla="*/ 1064761 w 5545537"/>
              <a:gd name="connsiteY14" fmla="*/ 6863300 h 6876022"/>
              <a:gd name="connsiteX15" fmla="*/ 1069719 w 5545537"/>
              <a:gd name="connsiteY15" fmla="*/ 6318334 h 6876022"/>
              <a:gd name="connsiteX16" fmla="*/ 1069720 w 5545537"/>
              <a:gd name="connsiteY16" fmla="*/ 6318321 h 6876022"/>
              <a:gd name="connsiteX17" fmla="*/ 1069719 w 5545537"/>
              <a:gd name="connsiteY17" fmla="*/ 6318310 h 6876022"/>
              <a:gd name="connsiteX18" fmla="*/ 1061010 w 5545537"/>
              <a:gd name="connsiteY18" fmla="*/ 6219603 h 6876022"/>
              <a:gd name="connsiteX19" fmla="*/ 624433 w 5545537"/>
              <a:gd name="connsiteY19" fmla="*/ 5771972 h 6876022"/>
              <a:gd name="connsiteX20" fmla="*/ 426816 w 5545537"/>
              <a:gd name="connsiteY20" fmla="*/ 5735384 h 6876022"/>
              <a:gd name="connsiteX21" fmla="*/ 9971 w 5545537"/>
              <a:gd name="connsiteY21" fmla="*/ 5223932 h 6876022"/>
              <a:gd name="connsiteX22" fmla="*/ 426816 w 5545537"/>
              <a:gd name="connsiteY22" fmla="*/ 4712481 h 6876022"/>
              <a:gd name="connsiteX23" fmla="*/ 512040 w 5545537"/>
              <a:gd name="connsiteY23" fmla="*/ 4703889 h 6876022"/>
              <a:gd name="connsiteX24" fmla="*/ 512040 w 5545537"/>
              <a:gd name="connsiteY24" fmla="*/ 4703511 h 6876022"/>
              <a:gd name="connsiteX25" fmla="*/ 423086 w 5545537"/>
              <a:gd name="connsiteY25" fmla="*/ 4694544 h 6876022"/>
              <a:gd name="connsiteX26" fmla="*/ 0 w 5545537"/>
              <a:gd name="connsiteY26" fmla="*/ 4175435 h 6876022"/>
              <a:gd name="connsiteX27" fmla="*/ 529874 w 5545537"/>
              <a:gd name="connsiteY27" fmla="*/ 3645561 h 6876022"/>
              <a:gd name="connsiteX28" fmla="*/ 1048983 w 5545537"/>
              <a:gd name="connsiteY28" fmla="*/ 4068647 h 6876022"/>
              <a:gd name="connsiteX29" fmla="*/ 1057146 w 5545537"/>
              <a:gd name="connsiteY29" fmla="*/ 4149617 h 6876022"/>
              <a:gd name="connsiteX30" fmla="*/ 1069719 w 5545537"/>
              <a:gd name="connsiteY30" fmla="*/ 4620012 h 6876022"/>
              <a:gd name="connsiteX31" fmla="*/ 1095113 w 5545537"/>
              <a:gd name="connsiteY31" fmla="*/ 4538207 h 6876022"/>
              <a:gd name="connsiteX32" fmla="*/ 1576145 w 5545537"/>
              <a:gd name="connsiteY32" fmla="*/ 4219357 h 6876022"/>
              <a:gd name="connsiteX33" fmla="*/ 1609779 w 5545537"/>
              <a:gd name="connsiteY33" fmla="*/ 4222748 h 6876022"/>
              <a:gd name="connsiteX34" fmla="*/ 1609779 w 5545537"/>
              <a:gd name="connsiteY34" fmla="*/ 4205666 h 6876022"/>
              <a:gd name="connsiteX35" fmla="*/ 1577115 w 5545537"/>
              <a:gd name="connsiteY35" fmla="*/ 4208959 h 6876022"/>
              <a:gd name="connsiteX36" fmla="*/ 1055057 w 5545537"/>
              <a:gd name="connsiteY36" fmla="*/ 3686901 h 6876022"/>
              <a:gd name="connsiteX37" fmla="*/ 1577115 w 5545537"/>
              <a:gd name="connsiteY37" fmla="*/ 3164843 h 6876022"/>
              <a:gd name="connsiteX38" fmla="*/ 2088567 w 5545537"/>
              <a:gd name="connsiteY38" fmla="*/ 3581688 h 6876022"/>
              <a:gd name="connsiteX39" fmla="*/ 2098635 w 5545537"/>
              <a:gd name="connsiteY39" fmla="*/ 3681565 h 6876022"/>
              <a:gd name="connsiteX40" fmla="*/ 2113837 w 5545537"/>
              <a:gd name="connsiteY40" fmla="*/ 3681565 h 6876022"/>
              <a:gd name="connsiteX41" fmla="*/ 2113837 w 5545537"/>
              <a:gd name="connsiteY41" fmla="*/ 2637449 h 6876022"/>
              <a:gd name="connsiteX42" fmla="*/ 2114775 w 5545537"/>
              <a:gd name="connsiteY42" fmla="*/ 2637449 h 6876022"/>
              <a:gd name="connsiteX43" fmla="*/ 2113835 w 5545537"/>
              <a:gd name="connsiteY43" fmla="*/ 2628122 h 6876022"/>
              <a:gd name="connsiteX44" fmla="*/ 2635893 w 5545537"/>
              <a:gd name="connsiteY44" fmla="*/ 2106064 h 6876022"/>
              <a:gd name="connsiteX45" fmla="*/ 2649648 w 5545537"/>
              <a:gd name="connsiteY45" fmla="*/ 2107451 h 6876022"/>
              <a:gd name="connsiteX46" fmla="*/ 2649648 w 5545537"/>
              <a:gd name="connsiteY46" fmla="*/ 2090015 h 6876022"/>
              <a:gd name="connsiteX47" fmla="*/ 2635894 w 5545537"/>
              <a:gd name="connsiteY47" fmla="*/ 2091401 h 6876022"/>
              <a:gd name="connsiteX48" fmla="*/ 2113836 w 5545537"/>
              <a:gd name="connsiteY48" fmla="*/ 1569343 h 6876022"/>
              <a:gd name="connsiteX49" fmla="*/ 2635894 w 5545537"/>
              <a:gd name="connsiteY49" fmla="*/ 1047285 h 6876022"/>
              <a:gd name="connsiteX50" fmla="*/ 2649648 w 5545537"/>
              <a:gd name="connsiteY50" fmla="*/ 1048672 h 6876022"/>
              <a:gd name="connsiteX51" fmla="*/ 2649648 w 5545537"/>
              <a:gd name="connsiteY51" fmla="*/ 1043268 h 6876022"/>
              <a:gd name="connsiteX52" fmla="*/ 2689899 w 5545537"/>
              <a:gd name="connsiteY52" fmla="*/ 1039210 h 6876022"/>
              <a:gd name="connsiteX53" fmla="*/ 2689899 w 5545537"/>
              <a:gd name="connsiteY53" fmla="*/ 1038672 h 6876022"/>
              <a:gd name="connsiteX54" fmla="*/ 2635893 w 5545537"/>
              <a:gd name="connsiteY54" fmla="*/ 1044116 h 6876022"/>
              <a:gd name="connsiteX55" fmla="*/ 2113835 w 5545537"/>
              <a:gd name="connsiteY55" fmla="*/ 522058 h 6876022"/>
              <a:gd name="connsiteX56" fmla="*/ 2635893 w 5545537"/>
              <a:gd name="connsiteY56" fmla="*/ 0 h 6876022"/>
              <a:gd name="connsiteX0" fmla="*/ 1577115 w 5545537"/>
              <a:gd name="connsiteY0" fmla="*/ 2106064 h 6876022"/>
              <a:gd name="connsiteX1" fmla="*/ 2099173 w 5545537"/>
              <a:gd name="connsiteY1" fmla="*/ 2628122 h 6876022"/>
              <a:gd name="connsiteX2" fmla="*/ 1577115 w 5545537"/>
              <a:gd name="connsiteY2" fmla="*/ 3150180 h 6876022"/>
              <a:gd name="connsiteX3" fmla="*/ 1055057 w 5545537"/>
              <a:gd name="connsiteY3" fmla="*/ 2628122 h 6876022"/>
              <a:gd name="connsiteX4" fmla="*/ 1577115 w 5545537"/>
              <a:gd name="connsiteY4" fmla="*/ 2106064 h 6876022"/>
              <a:gd name="connsiteX5" fmla="*/ 2635893 w 5545537"/>
              <a:gd name="connsiteY5" fmla="*/ 0 h 6876022"/>
              <a:gd name="connsiteX6" fmla="*/ 2649648 w 5545537"/>
              <a:gd name="connsiteY6" fmla="*/ 1387 h 6876022"/>
              <a:gd name="connsiteX7" fmla="*/ 2649648 w 5545537"/>
              <a:gd name="connsiteY7" fmla="*/ 537 h 6876022"/>
              <a:gd name="connsiteX8" fmla="*/ 2689899 w 5545537"/>
              <a:gd name="connsiteY8" fmla="*/ 537 h 6876022"/>
              <a:gd name="connsiteX9" fmla="*/ 2689899 w 5545537"/>
              <a:gd name="connsiteY9" fmla="*/ 0 h 6876022"/>
              <a:gd name="connsiteX10" fmla="*/ 3846766 w 5545537"/>
              <a:gd name="connsiteY10" fmla="*/ 0 h 6876022"/>
              <a:gd name="connsiteX11" fmla="*/ 3846766 w 5545537"/>
              <a:gd name="connsiteY11" fmla="*/ 537 h 6876022"/>
              <a:gd name="connsiteX12" fmla="*/ 5545537 w 5545537"/>
              <a:gd name="connsiteY12" fmla="*/ 537 h 6876022"/>
              <a:gd name="connsiteX13" fmla="*/ 5545537 w 5545537"/>
              <a:gd name="connsiteY13" fmla="*/ 6876000 h 6876022"/>
              <a:gd name="connsiteX14" fmla="*/ 1072488 w 5545537"/>
              <a:gd name="connsiteY14" fmla="*/ 6863300 h 6876022"/>
              <a:gd name="connsiteX15" fmla="*/ 1069719 w 5545537"/>
              <a:gd name="connsiteY15" fmla="*/ 6318334 h 6876022"/>
              <a:gd name="connsiteX16" fmla="*/ 1069720 w 5545537"/>
              <a:gd name="connsiteY16" fmla="*/ 6318321 h 6876022"/>
              <a:gd name="connsiteX17" fmla="*/ 1069719 w 5545537"/>
              <a:gd name="connsiteY17" fmla="*/ 6318310 h 6876022"/>
              <a:gd name="connsiteX18" fmla="*/ 1061010 w 5545537"/>
              <a:gd name="connsiteY18" fmla="*/ 6219603 h 6876022"/>
              <a:gd name="connsiteX19" fmla="*/ 624433 w 5545537"/>
              <a:gd name="connsiteY19" fmla="*/ 5771972 h 6876022"/>
              <a:gd name="connsiteX20" fmla="*/ 426816 w 5545537"/>
              <a:gd name="connsiteY20" fmla="*/ 5735384 h 6876022"/>
              <a:gd name="connsiteX21" fmla="*/ 9971 w 5545537"/>
              <a:gd name="connsiteY21" fmla="*/ 5223932 h 6876022"/>
              <a:gd name="connsiteX22" fmla="*/ 426816 w 5545537"/>
              <a:gd name="connsiteY22" fmla="*/ 4712481 h 6876022"/>
              <a:gd name="connsiteX23" fmla="*/ 512040 w 5545537"/>
              <a:gd name="connsiteY23" fmla="*/ 4703889 h 6876022"/>
              <a:gd name="connsiteX24" fmla="*/ 512040 w 5545537"/>
              <a:gd name="connsiteY24" fmla="*/ 4703511 h 6876022"/>
              <a:gd name="connsiteX25" fmla="*/ 423086 w 5545537"/>
              <a:gd name="connsiteY25" fmla="*/ 4694544 h 6876022"/>
              <a:gd name="connsiteX26" fmla="*/ 0 w 5545537"/>
              <a:gd name="connsiteY26" fmla="*/ 4175435 h 6876022"/>
              <a:gd name="connsiteX27" fmla="*/ 529874 w 5545537"/>
              <a:gd name="connsiteY27" fmla="*/ 3645561 h 6876022"/>
              <a:gd name="connsiteX28" fmla="*/ 1048983 w 5545537"/>
              <a:gd name="connsiteY28" fmla="*/ 4068647 h 6876022"/>
              <a:gd name="connsiteX29" fmla="*/ 1057146 w 5545537"/>
              <a:gd name="connsiteY29" fmla="*/ 4149617 h 6876022"/>
              <a:gd name="connsiteX30" fmla="*/ 1069719 w 5545537"/>
              <a:gd name="connsiteY30" fmla="*/ 4620012 h 6876022"/>
              <a:gd name="connsiteX31" fmla="*/ 1095113 w 5545537"/>
              <a:gd name="connsiteY31" fmla="*/ 4538207 h 6876022"/>
              <a:gd name="connsiteX32" fmla="*/ 1576145 w 5545537"/>
              <a:gd name="connsiteY32" fmla="*/ 4219357 h 6876022"/>
              <a:gd name="connsiteX33" fmla="*/ 1609779 w 5545537"/>
              <a:gd name="connsiteY33" fmla="*/ 4222748 h 6876022"/>
              <a:gd name="connsiteX34" fmla="*/ 1609779 w 5545537"/>
              <a:gd name="connsiteY34" fmla="*/ 4205666 h 6876022"/>
              <a:gd name="connsiteX35" fmla="*/ 1577115 w 5545537"/>
              <a:gd name="connsiteY35" fmla="*/ 4208959 h 6876022"/>
              <a:gd name="connsiteX36" fmla="*/ 1055057 w 5545537"/>
              <a:gd name="connsiteY36" fmla="*/ 3686901 h 6876022"/>
              <a:gd name="connsiteX37" fmla="*/ 1577115 w 5545537"/>
              <a:gd name="connsiteY37" fmla="*/ 3164843 h 6876022"/>
              <a:gd name="connsiteX38" fmla="*/ 2088567 w 5545537"/>
              <a:gd name="connsiteY38" fmla="*/ 3581688 h 6876022"/>
              <a:gd name="connsiteX39" fmla="*/ 2098635 w 5545537"/>
              <a:gd name="connsiteY39" fmla="*/ 3681565 h 6876022"/>
              <a:gd name="connsiteX40" fmla="*/ 2113837 w 5545537"/>
              <a:gd name="connsiteY40" fmla="*/ 3681565 h 6876022"/>
              <a:gd name="connsiteX41" fmla="*/ 2113837 w 5545537"/>
              <a:gd name="connsiteY41" fmla="*/ 2637449 h 6876022"/>
              <a:gd name="connsiteX42" fmla="*/ 2114775 w 5545537"/>
              <a:gd name="connsiteY42" fmla="*/ 2637449 h 6876022"/>
              <a:gd name="connsiteX43" fmla="*/ 2113835 w 5545537"/>
              <a:gd name="connsiteY43" fmla="*/ 2628122 h 6876022"/>
              <a:gd name="connsiteX44" fmla="*/ 2635893 w 5545537"/>
              <a:gd name="connsiteY44" fmla="*/ 2106064 h 6876022"/>
              <a:gd name="connsiteX45" fmla="*/ 2649648 w 5545537"/>
              <a:gd name="connsiteY45" fmla="*/ 2107451 h 6876022"/>
              <a:gd name="connsiteX46" fmla="*/ 2649648 w 5545537"/>
              <a:gd name="connsiteY46" fmla="*/ 2090015 h 6876022"/>
              <a:gd name="connsiteX47" fmla="*/ 2635894 w 5545537"/>
              <a:gd name="connsiteY47" fmla="*/ 2091401 h 6876022"/>
              <a:gd name="connsiteX48" fmla="*/ 2113836 w 5545537"/>
              <a:gd name="connsiteY48" fmla="*/ 1569343 h 6876022"/>
              <a:gd name="connsiteX49" fmla="*/ 2635894 w 5545537"/>
              <a:gd name="connsiteY49" fmla="*/ 1047285 h 6876022"/>
              <a:gd name="connsiteX50" fmla="*/ 2649648 w 5545537"/>
              <a:gd name="connsiteY50" fmla="*/ 1048672 h 6876022"/>
              <a:gd name="connsiteX51" fmla="*/ 2649648 w 5545537"/>
              <a:gd name="connsiteY51" fmla="*/ 1043268 h 6876022"/>
              <a:gd name="connsiteX52" fmla="*/ 2689899 w 5545537"/>
              <a:gd name="connsiteY52" fmla="*/ 1039210 h 6876022"/>
              <a:gd name="connsiteX53" fmla="*/ 2689899 w 5545537"/>
              <a:gd name="connsiteY53" fmla="*/ 1038672 h 6876022"/>
              <a:gd name="connsiteX54" fmla="*/ 2635893 w 5545537"/>
              <a:gd name="connsiteY54" fmla="*/ 1044116 h 6876022"/>
              <a:gd name="connsiteX55" fmla="*/ 2113835 w 5545537"/>
              <a:gd name="connsiteY55" fmla="*/ 522058 h 6876022"/>
              <a:gd name="connsiteX56" fmla="*/ 2635893 w 5545537"/>
              <a:gd name="connsiteY56" fmla="*/ 0 h 6876022"/>
              <a:gd name="connsiteX0" fmla="*/ 1577115 w 5545537"/>
              <a:gd name="connsiteY0" fmla="*/ 2106064 h 6876022"/>
              <a:gd name="connsiteX1" fmla="*/ 2099173 w 5545537"/>
              <a:gd name="connsiteY1" fmla="*/ 2628122 h 6876022"/>
              <a:gd name="connsiteX2" fmla="*/ 1577115 w 5545537"/>
              <a:gd name="connsiteY2" fmla="*/ 3150180 h 6876022"/>
              <a:gd name="connsiteX3" fmla="*/ 1055057 w 5545537"/>
              <a:gd name="connsiteY3" fmla="*/ 2628122 h 6876022"/>
              <a:gd name="connsiteX4" fmla="*/ 1577115 w 5545537"/>
              <a:gd name="connsiteY4" fmla="*/ 2106064 h 6876022"/>
              <a:gd name="connsiteX5" fmla="*/ 2635893 w 5545537"/>
              <a:gd name="connsiteY5" fmla="*/ 0 h 6876022"/>
              <a:gd name="connsiteX6" fmla="*/ 2649648 w 5545537"/>
              <a:gd name="connsiteY6" fmla="*/ 1387 h 6876022"/>
              <a:gd name="connsiteX7" fmla="*/ 2649648 w 5545537"/>
              <a:gd name="connsiteY7" fmla="*/ 537 h 6876022"/>
              <a:gd name="connsiteX8" fmla="*/ 2689899 w 5545537"/>
              <a:gd name="connsiteY8" fmla="*/ 537 h 6876022"/>
              <a:gd name="connsiteX9" fmla="*/ 2689899 w 5545537"/>
              <a:gd name="connsiteY9" fmla="*/ 0 h 6876022"/>
              <a:gd name="connsiteX10" fmla="*/ 3846766 w 5545537"/>
              <a:gd name="connsiteY10" fmla="*/ 0 h 6876022"/>
              <a:gd name="connsiteX11" fmla="*/ 3846766 w 5545537"/>
              <a:gd name="connsiteY11" fmla="*/ 537 h 6876022"/>
              <a:gd name="connsiteX12" fmla="*/ 5545537 w 5545537"/>
              <a:gd name="connsiteY12" fmla="*/ 537 h 6876022"/>
              <a:gd name="connsiteX13" fmla="*/ 5545537 w 5545537"/>
              <a:gd name="connsiteY13" fmla="*/ 6876000 h 6876022"/>
              <a:gd name="connsiteX14" fmla="*/ 1067337 w 5545537"/>
              <a:gd name="connsiteY14" fmla="*/ 6863300 h 6876022"/>
              <a:gd name="connsiteX15" fmla="*/ 1069719 w 5545537"/>
              <a:gd name="connsiteY15" fmla="*/ 6318334 h 6876022"/>
              <a:gd name="connsiteX16" fmla="*/ 1069720 w 5545537"/>
              <a:gd name="connsiteY16" fmla="*/ 6318321 h 6876022"/>
              <a:gd name="connsiteX17" fmla="*/ 1069719 w 5545537"/>
              <a:gd name="connsiteY17" fmla="*/ 6318310 h 6876022"/>
              <a:gd name="connsiteX18" fmla="*/ 1061010 w 5545537"/>
              <a:gd name="connsiteY18" fmla="*/ 6219603 h 6876022"/>
              <a:gd name="connsiteX19" fmla="*/ 624433 w 5545537"/>
              <a:gd name="connsiteY19" fmla="*/ 5771972 h 6876022"/>
              <a:gd name="connsiteX20" fmla="*/ 426816 w 5545537"/>
              <a:gd name="connsiteY20" fmla="*/ 5735384 h 6876022"/>
              <a:gd name="connsiteX21" fmla="*/ 9971 w 5545537"/>
              <a:gd name="connsiteY21" fmla="*/ 5223932 h 6876022"/>
              <a:gd name="connsiteX22" fmla="*/ 426816 w 5545537"/>
              <a:gd name="connsiteY22" fmla="*/ 4712481 h 6876022"/>
              <a:gd name="connsiteX23" fmla="*/ 512040 w 5545537"/>
              <a:gd name="connsiteY23" fmla="*/ 4703889 h 6876022"/>
              <a:gd name="connsiteX24" fmla="*/ 512040 w 5545537"/>
              <a:gd name="connsiteY24" fmla="*/ 4703511 h 6876022"/>
              <a:gd name="connsiteX25" fmla="*/ 423086 w 5545537"/>
              <a:gd name="connsiteY25" fmla="*/ 4694544 h 6876022"/>
              <a:gd name="connsiteX26" fmla="*/ 0 w 5545537"/>
              <a:gd name="connsiteY26" fmla="*/ 4175435 h 6876022"/>
              <a:gd name="connsiteX27" fmla="*/ 529874 w 5545537"/>
              <a:gd name="connsiteY27" fmla="*/ 3645561 h 6876022"/>
              <a:gd name="connsiteX28" fmla="*/ 1048983 w 5545537"/>
              <a:gd name="connsiteY28" fmla="*/ 4068647 h 6876022"/>
              <a:gd name="connsiteX29" fmla="*/ 1057146 w 5545537"/>
              <a:gd name="connsiteY29" fmla="*/ 4149617 h 6876022"/>
              <a:gd name="connsiteX30" fmla="*/ 1069719 w 5545537"/>
              <a:gd name="connsiteY30" fmla="*/ 4620012 h 6876022"/>
              <a:gd name="connsiteX31" fmla="*/ 1095113 w 5545537"/>
              <a:gd name="connsiteY31" fmla="*/ 4538207 h 6876022"/>
              <a:gd name="connsiteX32" fmla="*/ 1576145 w 5545537"/>
              <a:gd name="connsiteY32" fmla="*/ 4219357 h 6876022"/>
              <a:gd name="connsiteX33" fmla="*/ 1609779 w 5545537"/>
              <a:gd name="connsiteY33" fmla="*/ 4222748 h 6876022"/>
              <a:gd name="connsiteX34" fmla="*/ 1609779 w 5545537"/>
              <a:gd name="connsiteY34" fmla="*/ 4205666 h 6876022"/>
              <a:gd name="connsiteX35" fmla="*/ 1577115 w 5545537"/>
              <a:gd name="connsiteY35" fmla="*/ 4208959 h 6876022"/>
              <a:gd name="connsiteX36" fmla="*/ 1055057 w 5545537"/>
              <a:gd name="connsiteY36" fmla="*/ 3686901 h 6876022"/>
              <a:gd name="connsiteX37" fmla="*/ 1577115 w 5545537"/>
              <a:gd name="connsiteY37" fmla="*/ 3164843 h 6876022"/>
              <a:gd name="connsiteX38" fmla="*/ 2088567 w 5545537"/>
              <a:gd name="connsiteY38" fmla="*/ 3581688 h 6876022"/>
              <a:gd name="connsiteX39" fmla="*/ 2098635 w 5545537"/>
              <a:gd name="connsiteY39" fmla="*/ 3681565 h 6876022"/>
              <a:gd name="connsiteX40" fmla="*/ 2113837 w 5545537"/>
              <a:gd name="connsiteY40" fmla="*/ 3681565 h 6876022"/>
              <a:gd name="connsiteX41" fmla="*/ 2113837 w 5545537"/>
              <a:gd name="connsiteY41" fmla="*/ 2637449 h 6876022"/>
              <a:gd name="connsiteX42" fmla="*/ 2114775 w 5545537"/>
              <a:gd name="connsiteY42" fmla="*/ 2637449 h 6876022"/>
              <a:gd name="connsiteX43" fmla="*/ 2113835 w 5545537"/>
              <a:gd name="connsiteY43" fmla="*/ 2628122 h 6876022"/>
              <a:gd name="connsiteX44" fmla="*/ 2635893 w 5545537"/>
              <a:gd name="connsiteY44" fmla="*/ 2106064 h 6876022"/>
              <a:gd name="connsiteX45" fmla="*/ 2649648 w 5545537"/>
              <a:gd name="connsiteY45" fmla="*/ 2107451 h 6876022"/>
              <a:gd name="connsiteX46" fmla="*/ 2649648 w 5545537"/>
              <a:gd name="connsiteY46" fmla="*/ 2090015 h 6876022"/>
              <a:gd name="connsiteX47" fmla="*/ 2635894 w 5545537"/>
              <a:gd name="connsiteY47" fmla="*/ 2091401 h 6876022"/>
              <a:gd name="connsiteX48" fmla="*/ 2113836 w 5545537"/>
              <a:gd name="connsiteY48" fmla="*/ 1569343 h 6876022"/>
              <a:gd name="connsiteX49" fmla="*/ 2635894 w 5545537"/>
              <a:gd name="connsiteY49" fmla="*/ 1047285 h 6876022"/>
              <a:gd name="connsiteX50" fmla="*/ 2649648 w 5545537"/>
              <a:gd name="connsiteY50" fmla="*/ 1048672 h 6876022"/>
              <a:gd name="connsiteX51" fmla="*/ 2649648 w 5545537"/>
              <a:gd name="connsiteY51" fmla="*/ 1043268 h 6876022"/>
              <a:gd name="connsiteX52" fmla="*/ 2689899 w 5545537"/>
              <a:gd name="connsiteY52" fmla="*/ 1039210 h 6876022"/>
              <a:gd name="connsiteX53" fmla="*/ 2689899 w 5545537"/>
              <a:gd name="connsiteY53" fmla="*/ 1038672 h 6876022"/>
              <a:gd name="connsiteX54" fmla="*/ 2635893 w 5545537"/>
              <a:gd name="connsiteY54" fmla="*/ 1044116 h 6876022"/>
              <a:gd name="connsiteX55" fmla="*/ 2113835 w 5545537"/>
              <a:gd name="connsiteY55" fmla="*/ 522058 h 6876022"/>
              <a:gd name="connsiteX56" fmla="*/ 2635893 w 5545537"/>
              <a:gd name="connsiteY56" fmla="*/ 0 h 6876022"/>
              <a:gd name="connsiteX0" fmla="*/ 1577115 w 5545537"/>
              <a:gd name="connsiteY0" fmla="*/ 2106064 h 6942972"/>
              <a:gd name="connsiteX1" fmla="*/ 2099173 w 5545537"/>
              <a:gd name="connsiteY1" fmla="*/ 2628122 h 6942972"/>
              <a:gd name="connsiteX2" fmla="*/ 1577115 w 5545537"/>
              <a:gd name="connsiteY2" fmla="*/ 3150180 h 6942972"/>
              <a:gd name="connsiteX3" fmla="*/ 1055057 w 5545537"/>
              <a:gd name="connsiteY3" fmla="*/ 2628122 h 6942972"/>
              <a:gd name="connsiteX4" fmla="*/ 1577115 w 5545537"/>
              <a:gd name="connsiteY4" fmla="*/ 2106064 h 6942972"/>
              <a:gd name="connsiteX5" fmla="*/ 2635893 w 5545537"/>
              <a:gd name="connsiteY5" fmla="*/ 0 h 6942972"/>
              <a:gd name="connsiteX6" fmla="*/ 2649648 w 5545537"/>
              <a:gd name="connsiteY6" fmla="*/ 1387 h 6942972"/>
              <a:gd name="connsiteX7" fmla="*/ 2649648 w 5545537"/>
              <a:gd name="connsiteY7" fmla="*/ 537 h 6942972"/>
              <a:gd name="connsiteX8" fmla="*/ 2689899 w 5545537"/>
              <a:gd name="connsiteY8" fmla="*/ 537 h 6942972"/>
              <a:gd name="connsiteX9" fmla="*/ 2689899 w 5545537"/>
              <a:gd name="connsiteY9" fmla="*/ 0 h 6942972"/>
              <a:gd name="connsiteX10" fmla="*/ 3846766 w 5545537"/>
              <a:gd name="connsiteY10" fmla="*/ 0 h 6942972"/>
              <a:gd name="connsiteX11" fmla="*/ 3846766 w 5545537"/>
              <a:gd name="connsiteY11" fmla="*/ 537 h 6942972"/>
              <a:gd name="connsiteX12" fmla="*/ 5545537 w 5545537"/>
              <a:gd name="connsiteY12" fmla="*/ 537 h 6942972"/>
              <a:gd name="connsiteX13" fmla="*/ 5540385 w 5545537"/>
              <a:gd name="connsiteY13" fmla="*/ 6942970 h 6942972"/>
              <a:gd name="connsiteX14" fmla="*/ 1067337 w 5545537"/>
              <a:gd name="connsiteY14" fmla="*/ 6863300 h 6942972"/>
              <a:gd name="connsiteX15" fmla="*/ 1069719 w 5545537"/>
              <a:gd name="connsiteY15" fmla="*/ 6318334 h 6942972"/>
              <a:gd name="connsiteX16" fmla="*/ 1069720 w 5545537"/>
              <a:gd name="connsiteY16" fmla="*/ 6318321 h 6942972"/>
              <a:gd name="connsiteX17" fmla="*/ 1069719 w 5545537"/>
              <a:gd name="connsiteY17" fmla="*/ 6318310 h 6942972"/>
              <a:gd name="connsiteX18" fmla="*/ 1061010 w 5545537"/>
              <a:gd name="connsiteY18" fmla="*/ 6219603 h 6942972"/>
              <a:gd name="connsiteX19" fmla="*/ 624433 w 5545537"/>
              <a:gd name="connsiteY19" fmla="*/ 5771972 h 6942972"/>
              <a:gd name="connsiteX20" fmla="*/ 426816 w 5545537"/>
              <a:gd name="connsiteY20" fmla="*/ 5735384 h 6942972"/>
              <a:gd name="connsiteX21" fmla="*/ 9971 w 5545537"/>
              <a:gd name="connsiteY21" fmla="*/ 5223932 h 6942972"/>
              <a:gd name="connsiteX22" fmla="*/ 426816 w 5545537"/>
              <a:gd name="connsiteY22" fmla="*/ 4712481 h 6942972"/>
              <a:gd name="connsiteX23" fmla="*/ 512040 w 5545537"/>
              <a:gd name="connsiteY23" fmla="*/ 4703889 h 6942972"/>
              <a:gd name="connsiteX24" fmla="*/ 512040 w 5545537"/>
              <a:gd name="connsiteY24" fmla="*/ 4703511 h 6942972"/>
              <a:gd name="connsiteX25" fmla="*/ 423086 w 5545537"/>
              <a:gd name="connsiteY25" fmla="*/ 4694544 h 6942972"/>
              <a:gd name="connsiteX26" fmla="*/ 0 w 5545537"/>
              <a:gd name="connsiteY26" fmla="*/ 4175435 h 6942972"/>
              <a:gd name="connsiteX27" fmla="*/ 529874 w 5545537"/>
              <a:gd name="connsiteY27" fmla="*/ 3645561 h 6942972"/>
              <a:gd name="connsiteX28" fmla="*/ 1048983 w 5545537"/>
              <a:gd name="connsiteY28" fmla="*/ 4068647 h 6942972"/>
              <a:gd name="connsiteX29" fmla="*/ 1057146 w 5545537"/>
              <a:gd name="connsiteY29" fmla="*/ 4149617 h 6942972"/>
              <a:gd name="connsiteX30" fmla="*/ 1069719 w 5545537"/>
              <a:gd name="connsiteY30" fmla="*/ 4620012 h 6942972"/>
              <a:gd name="connsiteX31" fmla="*/ 1095113 w 5545537"/>
              <a:gd name="connsiteY31" fmla="*/ 4538207 h 6942972"/>
              <a:gd name="connsiteX32" fmla="*/ 1576145 w 5545537"/>
              <a:gd name="connsiteY32" fmla="*/ 4219357 h 6942972"/>
              <a:gd name="connsiteX33" fmla="*/ 1609779 w 5545537"/>
              <a:gd name="connsiteY33" fmla="*/ 4222748 h 6942972"/>
              <a:gd name="connsiteX34" fmla="*/ 1609779 w 5545537"/>
              <a:gd name="connsiteY34" fmla="*/ 4205666 h 6942972"/>
              <a:gd name="connsiteX35" fmla="*/ 1577115 w 5545537"/>
              <a:gd name="connsiteY35" fmla="*/ 4208959 h 6942972"/>
              <a:gd name="connsiteX36" fmla="*/ 1055057 w 5545537"/>
              <a:gd name="connsiteY36" fmla="*/ 3686901 h 6942972"/>
              <a:gd name="connsiteX37" fmla="*/ 1577115 w 5545537"/>
              <a:gd name="connsiteY37" fmla="*/ 3164843 h 6942972"/>
              <a:gd name="connsiteX38" fmla="*/ 2088567 w 5545537"/>
              <a:gd name="connsiteY38" fmla="*/ 3581688 h 6942972"/>
              <a:gd name="connsiteX39" fmla="*/ 2098635 w 5545537"/>
              <a:gd name="connsiteY39" fmla="*/ 3681565 h 6942972"/>
              <a:gd name="connsiteX40" fmla="*/ 2113837 w 5545537"/>
              <a:gd name="connsiteY40" fmla="*/ 3681565 h 6942972"/>
              <a:gd name="connsiteX41" fmla="*/ 2113837 w 5545537"/>
              <a:gd name="connsiteY41" fmla="*/ 2637449 h 6942972"/>
              <a:gd name="connsiteX42" fmla="*/ 2114775 w 5545537"/>
              <a:gd name="connsiteY42" fmla="*/ 2637449 h 6942972"/>
              <a:gd name="connsiteX43" fmla="*/ 2113835 w 5545537"/>
              <a:gd name="connsiteY43" fmla="*/ 2628122 h 6942972"/>
              <a:gd name="connsiteX44" fmla="*/ 2635893 w 5545537"/>
              <a:gd name="connsiteY44" fmla="*/ 2106064 h 6942972"/>
              <a:gd name="connsiteX45" fmla="*/ 2649648 w 5545537"/>
              <a:gd name="connsiteY45" fmla="*/ 2107451 h 6942972"/>
              <a:gd name="connsiteX46" fmla="*/ 2649648 w 5545537"/>
              <a:gd name="connsiteY46" fmla="*/ 2090015 h 6942972"/>
              <a:gd name="connsiteX47" fmla="*/ 2635894 w 5545537"/>
              <a:gd name="connsiteY47" fmla="*/ 2091401 h 6942972"/>
              <a:gd name="connsiteX48" fmla="*/ 2113836 w 5545537"/>
              <a:gd name="connsiteY48" fmla="*/ 1569343 h 6942972"/>
              <a:gd name="connsiteX49" fmla="*/ 2635894 w 5545537"/>
              <a:gd name="connsiteY49" fmla="*/ 1047285 h 6942972"/>
              <a:gd name="connsiteX50" fmla="*/ 2649648 w 5545537"/>
              <a:gd name="connsiteY50" fmla="*/ 1048672 h 6942972"/>
              <a:gd name="connsiteX51" fmla="*/ 2649648 w 5545537"/>
              <a:gd name="connsiteY51" fmla="*/ 1043268 h 6942972"/>
              <a:gd name="connsiteX52" fmla="*/ 2689899 w 5545537"/>
              <a:gd name="connsiteY52" fmla="*/ 1039210 h 6942972"/>
              <a:gd name="connsiteX53" fmla="*/ 2689899 w 5545537"/>
              <a:gd name="connsiteY53" fmla="*/ 1038672 h 6942972"/>
              <a:gd name="connsiteX54" fmla="*/ 2635893 w 5545537"/>
              <a:gd name="connsiteY54" fmla="*/ 1044116 h 6942972"/>
              <a:gd name="connsiteX55" fmla="*/ 2113835 w 5545537"/>
              <a:gd name="connsiteY55" fmla="*/ 522058 h 6942972"/>
              <a:gd name="connsiteX56" fmla="*/ 2635893 w 5545537"/>
              <a:gd name="connsiteY56" fmla="*/ 0 h 6942972"/>
              <a:gd name="connsiteX0" fmla="*/ 1577115 w 5545537"/>
              <a:gd name="connsiteY0" fmla="*/ 2106064 h 6863435"/>
              <a:gd name="connsiteX1" fmla="*/ 2099173 w 5545537"/>
              <a:gd name="connsiteY1" fmla="*/ 2628122 h 6863435"/>
              <a:gd name="connsiteX2" fmla="*/ 1577115 w 5545537"/>
              <a:gd name="connsiteY2" fmla="*/ 3150180 h 6863435"/>
              <a:gd name="connsiteX3" fmla="*/ 1055057 w 5545537"/>
              <a:gd name="connsiteY3" fmla="*/ 2628122 h 6863435"/>
              <a:gd name="connsiteX4" fmla="*/ 1577115 w 5545537"/>
              <a:gd name="connsiteY4" fmla="*/ 2106064 h 6863435"/>
              <a:gd name="connsiteX5" fmla="*/ 2635893 w 5545537"/>
              <a:gd name="connsiteY5" fmla="*/ 0 h 6863435"/>
              <a:gd name="connsiteX6" fmla="*/ 2649648 w 5545537"/>
              <a:gd name="connsiteY6" fmla="*/ 1387 h 6863435"/>
              <a:gd name="connsiteX7" fmla="*/ 2649648 w 5545537"/>
              <a:gd name="connsiteY7" fmla="*/ 537 h 6863435"/>
              <a:gd name="connsiteX8" fmla="*/ 2689899 w 5545537"/>
              <a:gd name="connsiteY8" fmla="*/ 537 h 6863435"/>
              <a:gd name="connsiteX9" fmla="*/ 2689899 w 5545537"/>
              <a:gd name="connsiteY9" fmla="*/ 0 h 6863435"/>
              <a:gd name="connsiteX10" fmla="*/ 3846766 w 5545537"/>
              <a:gd name="connsiteY10" fmla="*/ 0 h 6863435"/>
              <a:gd name="connsiteX11" fmla="*/ 3846766 w 5545537"/>
              <a:gd name="connsiteY11" fmla="*/ 537 h 6863435"/>
              <a:gd name="connsiteX12" fmla="*/ 5545537 w 5545537"/>
              <a:gd name="connsiteY12" fmla="*/ 537 h 6863435"/>
              <a:gd name="connsiteX13" fmla="*/ 5452809 w 5545537"/>
              <a:gd name="connsiteY13" fmla="*/ 6770393 h 6863435"/>
              <a:gd name="connsiteX14" fmla="*/ 1067337 w 5545537"/>
              <a:gd name="connsiteY14" fmla="*/ 6863300 h 6863435"/>
              <a:gd name="connsiteX15" fmla="*/ 1069719 w 5545537"/>
              <a:gd name="connsiteY15" fmla="*/ 6318334 h 6863435"/>
              <a:gd name="connsiteX16" fmla="*/ 1069720 w 5545537"/>
              <a:gd name="connsiteY16" fmla="*/ 6318321 h 6863435"/>
              <a:gd name="connsiteX17" fmla="*/ 1069719 w 5545537"/>
              <a:gd name="connsiteY17" fmla="*/ 6318310 h 6863435"/>
              <a:gd name="connsiteX18" fmla="*/ 1061010 w 5545537"/>
              <a:gd name="connsiteY18" fmla="*/ 6219603 h 6863435"/>
              <a:gd name="connsiteX19" fmla="*/ 624433 w 5545537"/>
              <a:gd name="connsiteY19" fmla="*/ 5771972 h 6863435"/>
              <a:gd name="connsiteX20" fmla="*/ 426816 w 5545537"/>
              <a:gd name="connsiteY20" fmla="*/ 5735384 h 6863435"/>
              <a:gd name="connsiteX21" fmla="*/ 9971 w 5545537"/>
              <a:gd name="connsiteY21" fmla="*/ 5223932 h 6863435"/>
              <a:gd name="connsiteX22" fmla="*/ 426816 w 5545537"/>
              <a:gd name="connsiteY22" fmla="*/ 4712481 h 6863435"/>
              <a:gd name="connsiteX23" fmla="*/ 512040 w 5545537"/>
              <a:gd name="connsiteY23" fmla="*/ 4703889 h 6863435"/>
              <a:gd name="connsiteX24" fmla="*/ 512040 w 5545537"/>
              <a:gd name="connsiteY24" fmla="*/ 4703511 h 6863435"/>
              <a:gd name="connsiteX25" fmla="*/ 423086 w 5545537"/>
              <a:gd name="connsiteY25" fmla="*/ 4694544 h 6863435"/>
              <a:gd name="connsiteX26" fmla="*/ 0 w 5545537"/>
              <a:gd name="connsiteY26" fmla="*/ 4175435 h 6863435"/>
              <a:gd name="connsiteX27" fmla="*/ 529874 w 5545537"/>
              <a:gd name="connsiteY27" fmla="*/ 3645561 h 6863435"/>
              <a:gd name="connsiteX28" fmla="*/ 1048983 w 5545537"/>
              <a:gd name="connsiteY28" fmla="*/ 4068647 h 6863435"/>
              <a:gd name="connsiteX29" fmla="*/ 1057146 w 5545537"/>
              <a:gd name="connsiteY29" fmla="*/ 4149617 h 6863435"/>
              <a:gd name="connsiteX30" fmla="*/ 1069719 w 5545537"/>
              <a:gd name="connsiteY30" fmla="*/ 4620012 h 6863435"/>
              <a:gd name="connsiteX31" fmla="*/ 1095113 w 5545537"/>
              <a:gd name="connsiteY31" fmla="*/ 4538207 h 6863435"/>
              <a:gd name="connsiteX32" fmla="*/ 1576145 w 5545537"/>
              <a:gd name="connsiteY32" fmla="*/ 4219357 h 6863435"/>
              <a:gd name="connsiteX33" fmla="*/ 1609779 w 5545537"/>
              <a:gd name="connsiteY33" fmla="*/ 4222748 h 6863435"/>
              <a:gd name="connsiteX34" fmla="*/ 1609779 w 5545537"/>
              <a:gd name="connsiteY34" fmla="*/ 4205666 h 6863435"/>
              <a:gd name="connsiteX35" fmla="*/ 1577115 w 5545537"/>
              <a:gd name="connsiteY35" fmla="*/ 4208959 h 6863435"/>
              <a:gd name="connsiteX36" fmla="*/ 1055057 w 5545537"/>
              <a:gd name="connsiteY36" fmla="*/ 3686901 h 6863435"/>
              <a:gd name="connsiteX37" fmla="*/ 1577115 w 5545537"/>
              <a:gd name="connsiteY37" fmla="*/ 3164843 h 6863435"/>
              <a:gd name="connsiteX38" fmla="*/ 2088567 w 5545537"/>
              <a:gd name="connsiteY38" fmla="*/ 3581688 h 6863435"/>
              <a:gd name="connsiteX39" fmla="*/ 2098635 w 5545537"/>
              <a:gd name="connsiteY39" fmla="*/ 3681565 h 6863435"/>
              <a:gd name="connsiteX40" fmla="*/ 2113837 w 5545537"/>
              <a:gd name="connsiteY40" fmla="*/ 3681565 h 6863435"/>
              <a:gd name="connsiteX41" fmla="*/ 2113837 w 5545537"/>
              <a:gd name="connsiteY41" fmla="*/ 2637449 h 6863435"/>
              <a:gd name="connsiteX42" fmla="*/ 2114775 w 5545537"/>
              <a:gd name="connsiteY42" fmla="*/ 2637449 h 6863435"/>
              <a:gd name="connsiteX43" fmla="*/ 2113835 w 5545537"/>
              <a:gd name="connsiteY43" fmla="*/ 2628122 h 6863435"/>
              <a:gd name="connsiteX44" fmla="*/ 2635893 w 5545537"/>
              <a:gd name="connsiteY44" fmla="*/ 2106064 h 6863435"/>
              <a:gd name="connsiteX45" fmla="*/ 2649648 w 5545537"/>
              <a:gd name="connsiteY45" fmla="*/ 2107451 h 6863435"/>
              <a:gd name="connsiteX46" fmla="*/ 2649648 w 5545537"/>
              <a:gd name="connsiteY46" fmla="*/ 2090015 h 6863435"/>
              <a:gd name="connsiteX47" fmla="*/ 2635894 w 5545537"/>
              <a:gd name="connsiteY47" fmla="*/ 2091401 h 6863435"/>
              <a:gd name="connsiteX48" fmla="*/ 2113836 w 5545537"/>
              <a:gd name="connsiteY48" fmla="*/ 1569343 h 6863435"/>
              <a:gd name="connsiteX49" fmla="*/ 2635894 w 5545537"/>
              <a:gd name="connsiteY49" fmla="*/ 1047285 h 6863435"/>
              <a:gd name="connsiteX50" fmla="*/ 2649648 w 5545537"/>
              <a:gd name="connsiteY50" fmla="*/ 1048672 h 6863435"/>
              <a:gd name="connsiteX51" fmla="*/ 2649648 w 5545537"/>
              <a:gd name="connsiteY51" fmla="*/ 1043268 h 6863435"/>
              <a:gd name="connsiteX52" fmla="*/ 2689899 w 5545537"/>
              <a:gd name="connsiteY52" fmla="*/ 1039210 h 6863435"/>
              <a:gd name="connsiteX53" fmla="*/ 2689899 w 5545537"/>
              <a:gd name="connsiteY53" fmla="*/ 1038672 h 6863435"/>
              <a:gd name="connsiteX54" fmla="*/ 2635893 w 5545537"/>
              <a:gd name="connsiteY54" fmla="*/ 1044116 h 6863435"/>
              <a:gd name="connsiteX55" fmla="*/ 2113835 w 5545537"/>
              <a:gd name="connsiteY55" fmla="*/ 522058 h 6863435"/>
              <a:gd name="connsiteX56" fmla="*/ 2635893 w 5545537"/>
              <a:gd name="connsiteY56" fmla="*/ 0 h 6863435"/>
              <a:gd name="connsiteX0" fmla="*/ 1577115 w 5546031"/>
              <a:gd name="connsiteY0" fmla="*/ 2106064 h 6864730"/>
              <a:gd name="connsiteX1" fmla="*/ 2099173 w 5546031"/>
              <a:gd name="connsiteY1" fmla="*/ 2628122 h 6864730"/>
              <a:gd name="connsiteX2" fmla="*/ 1577115 w 5546031"/>
              <a:gd name="connsiteY2" fmla="*/ 3150180 h 6864730"/>
              <a:gd name="connsiteX3" fmla="*/ 1055057 w 5546031"/>
              <a:gd name="connsiteY3" fmla="*/ 2628122 h 6864730"/>
              <a:gd name="connsiteX4" fmla="*/ 1577115 w 5546031"/>
              <a:gd name="connsiteY4" fmla="*/ 2106064 h 6864730"/>
              <a:gd name="connsiteX5" fmla="*/ 2635893 w 5546031"/>
              <a:gd name="connsiteY5" fmla="*/ 0 h 6864730"/>
              <a:gd name="connsiteX6" fmla="*/ 2649648 w 5546031"/>
              <a:gd name="connsiteY6" fmla="*/ 1387 h 6864730"/>
              <a:gd name="connsiteX7" fmla="*/ 2649648 w 5546031"/>
              <a:gd name="connsiteY7" fmla="*/ 537 h 6864730"/>
              <a:gd name="connsiteX8" fmla="*/ 2689899 w 5546031"/>
              <a:gd name="connsiteY8" fmla="*/ 537 h 6864730"/>
              <a:gd name="connsiteX9" fmla="*/ 2689899 w 5546031"/>
              <a:gd name="connsiteY9" fmla="*/ 0 h 6864730"/>
              <a:gd name="connsiteX10" fmla="*/ 3846766 w 5546031"/>
              <a:gd name="connsiteY10" fmla="*/ 0 h 6864730"/>
              <a:gd name="connsiteX11" fmla="*/ 3846766 w 5546031"/>
              <a:gd name="connsiteY11" fmla="*/ 537 h 6864730"/>
              <a:gd name="connsiteX12" fmla="*/ 5545537 w 5546031"/>
              <a:gd name="connsiteY12" fmla="*/ 537 h 6864730"/>
              <a:gd name="connsiteX13" fmla="*/ 5545536 w 5546031"/>
              <a:gd name="connsiteY13" fmla="*/ 6860545 h 6864730"/>
              <a:gd name="connsiteX14" fmla="*/ 1067337 w 5546031"/>
              <a:gd name="connsiteY14" fmla="*/ 6863300 h 6864730"/>
              <a:gd name="connsiteX15" fmla="*/ 1069719 w 5546031"/>
              <a:gd name="connsiteY15" fmla="*/ 6318334 h 6864730"/>
              <a:gd name="connsiteX16" fmla="*/ 1069720 w 5546031"/>
              <a:gd name="connsiteY16" fmla="*/ 6318321 h 6864730"/>
              <a:gd name="connsiteX17" fmla="*/ 1069719 w 5546031"/>
              <a:gd name="connsiteY17" fmla="*/ 6318310 h 6864730"/>
              <a:gd name="connsiteX18" fmla="*/ 1061010 w 5546031"/>
              <a:gd name="connsiteY18" fmla="*/ 6219603 h 6864730"/>
              <a:gd name="connsiteX19" fmla="*/ 624433 w 5546031"/>
              <a:gd name="connsiteY19" fmla="*/ 5771972 h 6864730"/>
              <a:gd name="connsiteX20" fmla="*/ 426816 w 5546031"/>
              <a:gd name="connsiteY20" fmla="*/ 5735384 h 6864730"/>
              <a:gd name="connsiteX21" fmla="*/ 9971 w 5546031"/>
              <a:gd name="connsiteY21" fmla="*/ 5223932 h 6864730"/>
              <a:gd name="connsiteX22" fmla="*/ 426816 w 5546031"/>
              <a:gd name="connsiteY22" fmla="*/ 4712481 h 6864730"/>
              <a:gd name="connsiteX23" fmla="*/ 512040 w 5546031"/>
              <a:gd name="connsiteY23" fmla="*/ 4703889 h 6864730"/>
              <a:gd name="connsiteX24" fmla="*/ 512040 w 5546031"/>
              <a:gd name="connsiteY24" fmla="*/ 4703511 h 6864730"/>
              <a:gd name="connsiteX25" fmla="*/ 423086 w 5546031"/>
              <a:gd name="connsiteY25" fmla="*/ 4694544 h 6864730"/>
              <a:gd name="connsiteX26" fmla="*/ 0 w 5546031"/>
              <a:gd name="connsiteY26" fmla="*/ 4175435 h 6864730"/>
              <a:gd name="connsiteX27" fmla="*/ 529874 w 5546031"/>
              <a:gd name="connsiteY27" fmla="*/ 3645561 h 6864730"/>
              <a:gd name="connsiteX28" fmla="*/ 1048983 w 5546031"/>
              <a:gd name="connsiteY28" fmla="*/ 4068647 h 6864730"/>
              <a:gd name="connsiteX29" fmla="*/ 1057146 w 5546031"/>
              <a:gd name="connsiteY29" fmla="*/ 4149617 h 6864730"/>
              <a:gd name="connsiteX30" fmla="*/ 1069719 w 5546031"/>
              <a:gd name="connsiteY30" fmla="*/ 4620012 h 6864730"/>
              <a:gd name="connsiteX31" fmla="*/ 1095113 w 5546031"/>
              <a:gd name="connsiteY31" fmla="*/ 4538207 h 6864730"/>
              <a:gd name="connsiteX32" fmla="*/ 1576145 w 5546031"/>
              <a:gd name="connsiteY32" fmla="*/ 4219357 h 6864730"/>
              <a:gd name="connsiteX33" fmla="*/ 1609779 w 5546031"/>
              <a:gd name="connsiteY33" fmla="*/ 4222748 h 6864730"/>
              <a:gd name="connsiteX34" fmla="*/ 1609779 w 5546031"/>
              <a:gd name="connsiteY34" fmla="*/ 4205666 h 6864730"/>
              <a:gd name="connsiteX35" fmla="*/ 1577115 w 5546031"/>
              <a:gd name="connsiteY35" fmla="*/ 4208959 h 6864730"/>
              <a:gd name="connsiteX36" fmla="*/ 1055057 w 5546031"/>
              <a:gd name="connsiteY36" fmla="*/ 3686901 h 6864730"/>
              <a:gd name="connsiteX37" fmla="*/ 1577115 w 5546031"/>
              <a:gd name="connsiteY37" fmla="*/ 3164843 h 6864730"/>
              <a:gd name="connsiteX38" fmla="*/ 2088567 w 5546031"/>
              <a:gd name="connsiteY38" fmla="*/ 3581688 h 6864730"/>
              <a:gd name="connsiteX39" fmla="*/ 2098635 w 5546031"/>
              <a:gd name="connsiteY39" fmla="*/ 3681565 h 6864730"/>
              <a:gd name="connsiteX40" fmla="*/ 2113837 w 5546031"/>
              <a:gd name="connsiteY40" fmla="*/ 3681565 h 6864730"/>
              <a:gd name="connsiteX41" fmla="*/ 2113837 w 5546031"/>
              <a:gd name="connsiteY41" fmla="*/ 2637449 h 6864730"/>
              <a:gd name="connsiteX42" fmla="*/ 2114775 w 5546031"/>
              <a:gd name="connsiteY42" fmla="*/ 2637449 h 6864730"/>
              <a:gd name="connsiteX43" fmla="*/ 2113835 w 5546031"/>
              <a:gd name="connsiteY43" fmla="*/ 2628122 h 6864730"/>
              <a:gd name="connsiteX44" fmla="*/ 2635893 w 5546031"/>
              <a:gd name="connsiteY44" fmla="*/ 2106064 h 6864730"/>
              <a:gd name="connsiteX45" fmla="*/ 2649648 w 5546031"/>
              <a:gd name="connsiteY45" fmla="*/ 2107451 h 6864730"/>
              <a:gd name="connsiteX46" fmla="*/ 2649648 w 5546031"/>
              <a:gd name="connsiteY46" fmla="*/ 2090015 h 6864730"/>
              <a:gd name="connsiteX47" fmla="*/ 2635894 w 5546031"/>
              <a:gd name="connsiteY47" fmla="*/ 2091401 h 6864730"/>
              <a:gd name="connsiteX48" fmla="*/ 2113836 w 5546031"/>
              <a:gd name="connsiteY48" fmla="*/ 1569343 h 6864730"/>
              <a:gd name="connsiteX49" fmla="*/ 2635894 w 5546031"/>
              <a:gd name="connsiteY49" fmla="*/ 1047285 h 6864730"/>
              <a:gd name="connsiteX50" fmla="*/ 2649648 w 5546031"/>
              <a:gd name="connsiteY50" fmla="*/ 1048672 h 6864730"/>
              <a:gd name="connsiteX51" fmla="*/ 2649648 w 5546031"/>
              <a:gd name="connsiteY51" fmla="*/ 1043268 h 6864730"/>
              <a:gd name="connsiteX52" fmla="*/ 2689899 w 5546031"/>
              <a:gd name="connsiteY52" fmla="*/ 1039210 h 6864730"/>
              <a:gd name="connsiteX53" fmla="*/ 2689899 w 5546031"/>
              <a:gd name="connsiteY53" fmla="*/ 1038672 h 6864730"/>
              <a:gd name="connsiteX54" fmla="*/ 2635893 w 5546031"/>
              <a:gd name="connsiteY54" fmla="*/ 1044116 h 6864730"/>
              <a:gd name="connsiteX55" fmla="*/ 2113835 w 5546031"/>
              <a:gd name="connsiteY55" fmla="*/ 522058 h 6864730"/>
              <a:gd name="connsiteX56" fmla="*/ 2635893 w 5546031"/>
              <a:gd name="connsiteY56" fmla="*/ 0 h 6864730"/>
              <a:gd name="connsiteX0" fmla="*/ 1577115 w 5546031"/>
              <a:gd name="connsiteY0" fmla="*/ 2106064 h 6864730"/>
              <a:gd name="connsiteX1" fmla="*/ 2099173 w 5546031"/>
              <a:gd name="connsiteY1" fmla="*/ 2628122 h 6864730"/>
              <a:gd name="connsiteX2" fmla="*/ 1577115 w 5546031"/>
              <a:gd name="connsiteY2" fmla="*/ 3150180 h 6864730"/>
              <a:gd name="connsiteX3" fmla="*/ 1055057 w 5546031"/>
              <a:gd name="connsiteY3" fmla="*/ 2628122 h 6864730"/>
              <a:gd name="connsiteX4" fmla="*/ 1577115 w 5546031"/>
              <a:gd name="connsiteY4" fmla="*/ 2106064 h 6864730"/>
              <a:gd name="connsiteX5" fmla="*/ 2635893 w 5546031"/>
              <a:gd name="connsiteY5" fmla="*/ 0 h 6864730"/>
              <a:gd name="connsiteX6" fmla="*/ 2649648 w 5546031"/>
              <a:gd name="connsiteY6" fmla="*/ 1387 h 6864730"/>
              <a:gd name="connsiteX7" fmla="*/ 2649648 w 5546031"/>
              <a:gd name="connsiteY7" fmla="*/ 537 h 6864730"/>
              <a:gd name="connsiteX8" fmla="*/ 2689899 w 5546031"/>
              <a:gd name="connsiteY8" fmla="*/ 537 h 6864730"/>
              <a:gd name="connsiteX9" fmla="*/ 3846766 w 5546031"/>
              <a:gd name="connsiteY9" fmla="*/ 0 h 6864730"/>
              <a:gd name="connsiteX10" fmla="*/ 3846766 w 5546031"/>
              <a:gd name="connsiteY10" fmla="*/ 537 h 6864730"/>
              <a:gd name="connsiteX11" fmla="*/ 5545537 w 5546031"/>
              <a:gd name="connsiteY11" fmla="*/ 537 h 6864730"/>
              <a:gd name="connsiteX12" fmla="*/ 5545536 w 5546031"/>
              <a:gd name="connsiteY12" fmla="*/ 6860545 h 6864730"/>
              <a:gd name="connsiteX13" fmla="*/ 1067337 w 5546031"/>
              <a:gd name="connsiteY13" fmla="*/ 6863300 h 6864730"/>
              <a:gd name="connsiteX14" fmla="*/ 1069719 w 5546031"/>
              <a:gd name="connsiteY14" fmla="*/ 6318334 h 6864730"/>
              <a:gd name="connsiteX15" fmla="*/ 1069720 w 5546031"/>
              <a:gd name="connsiteY15" fmla="*/ 6318321 h 6864730"/>
              <a:gd name="connsiteX16" fmla="*/ 1069719 w 5546031"/>
              <a:gd name="connsiteY16" fmla="*/ 6318310 h 6864730"/>
              <a:gd name="connsiteX17" fmla="*/ 1061010 w 5546031"/>
              <a:gd name="connsiteY17" fmla="*/ 6219603 h 6864730"/>
              <a:gd name="connsiteX18" fmla="*/ 624433 w 5546031"/>
              <a:gd name="connsiteY18" fmla="*/ 5771972 h 6864730"/>
              <a:gd name="connsiteX19" fmla="*/ 426816 w 5546031"/>
              <a:gd name="connsiteY19" fmla="*/ 5735384 h 6864730"/>
              <a:gd name="connsiteX20" fmla="*/ 9971 w 5546031"/>
              <a:gd name="connsiteY20" fmla="*/ 5223932 h 6864730"/>
              <a:gd name="connsiteX21" fmla="*/ 426816 w 5546031"/>
              <a:gd name="connsiteY21" fmla="*/ 4712481 h 6864730"/>
              <a:gd name="connsiteX22" fmla="*/ 512040 w 5546031"/>
              <a:gd name="connsiteY22" fmla="*/ 4703889 h 6864730"/>
              <a:gd name="connsiteX23" fmla="*/ 512040 w 5546031"/>
              <a:gd name="connsiteY23" fmla="*/ 4703511 h 6864730"/>
              <a:gd name="connsiteX24" fmla="*/ 423086 w 5546031"/>
              <a:gd name="connsiteY24" fmla="*/ 4694544 h 6864730"/>
              <a:gd name="connsiteX25" fmla="*/ 0 w 5546031"/>
              <a:gd name="connsiteY25" fmla="*/ 4175435 h 6864730"/>
              <a:gd name="connsiteX26" fmla="*/ 529874 w 5546031"/>
              <a:gd name="connsiteY26" fmla="*/ 3645561 h 6864730"/>
              <a:gd name="connsiteX27" fmla="*/ 1048983 w 5546031"/>
              <a:gd name="connsiteY27" fmla="*/ 4068647 h 6864730"/>
              <a:gd name="connsiteX28" fmla="*/ 1057146 w 5546031"/>
              <a:gd name="connsiteY28" fmla="*/ 4149617 h 6864730"/>
              <a:gd name="connsiteX29" fmla="*/ 1069719 w 5546031"/>
              <a:gd name="connsiteY29" fmla="*/ 4620012 h 6864730"/>
              <a:gd name="connsiteX30" fmla="*/ 1095113 w 5546031"/>
              <a:gd name="connsiteY30" fmla="*/ 4538207 h 6864730"/>
              <a:gd name="connsiteX31" fmla="*/ 1576145 w 5546031"/>
              <a:gd name="connsiteY31" fmla="*/ 4219357 h 6864730"/>
              <a:gd name="connsiteX32" fmla="*/ 1609779 w 5546031"/>
              <a:gd name="connsiteY32" fmla="*/ 4222748 h 6864730"/>
              <a:gd name="connsiteX33" fmla="*/ 1609779 w 5546031"/>
              <a:gd name="connsiteY33" fmla="*/ 4205666 h 6864730"/>
              <a:gd name="connsiteX34" fmla="*/ 1577115 w 5546031"/>
              <a:gd name="connsiteY34" fmla="*/ 4208959 h 6864730"/>
              <a:gd name="connsiteX35" fmla="*/ 1055057 w 5546031"/>
              <a:gd name="connsiteY35" fmla="*/ 3686901 h 6864730"/>
              <a:gd name="connsiteX36" fmla="*/ 1577115 w 5546031"/>
              <a:gd name="connsiteY36" fmla="*/ 3164843 h 6864730"/>
              <a:gd name="connsiteX37" fmla="*/ 2088567 w 5546031"/>
              <a:gd name="connsiteY37" fmla="*/ 3581688 h 6864730"/>
              <a:gd name="connsiteX38" fmla="*/ 2098635 w 5546031"/>
              <a:gd name="connsiteY38" fmla="*/ 3681565 h 6864730"/>
              <a:gd name="connsiteX39" fmla="*/ 2113837 w 5546031"/>
              <a:gd name="connsiteY39" fmla="*/ 3681565 h 6864730"/>
              <a:gd name="connsiteX40" fmla="*/ 2113837 w 5546031"/>
              <a:gd name="connsiteY40" fmla="*/ 2637449 h 6864730"/>
              <a:gd name="connsiteX41" fmla="*/ 2114775 w 5546031"/>
              <a:gd name="connsiteY41" fmla="*/ 2637449 h 6864730"/>
              <a:gd name="connsiteX42" fmla="*/ 2113835 w 5546031"/>
              <a:gd name="connsiteY42" fmla="*/ 2628122 h 6864730"/>
              <a:gd name="connsiteX43" fmla="*/ 2635893 w 5546031"/>
              <a:gd name="connsiteY43" fmla="*/ 2106064 h 6864730"/>
              <a:gd name="connsiteX44" fmla="*/ 2649648 w 5546031"/>
              <a:gd name="connsiteY44" fmla="*/ 2107451 h 6864730"/>
              <a:gd name="connsiteX45" fmla="*/ 2649648 w 5546031"/>
              <a:gd name="connsiteY45" fmla="*/ 2090015 h 6864730"/>
              <a:gd name="connsiteX46" fmla="*/ 2635894 w 5546031"/>
              <a:gd name="connsiteY46" fmla="*/ 2091401 h 6864730"/>
              <a:gd name="connsiteX47" fmla="*/ 2113836 w 5546031"/>
              <a:gd name="connsiteY47" fmla="*/ 1569343 h 6864730"/>
              <a:gd name="connsiteX48" fmla="*/ 2635894 w 5546031"/>
              <a:gd name="connsiteY48" fmla="*/ 1047285 h 6864730"/>
              <a:gd name="connsiteX49" fmla="*/ 2649648 w 5546031"/>
              <a:gd name="connsiteY49" fmla="*/ 1048672 h 6864730"/>
              <a:gd name="connsiteX50" fmla="*/ 2649648 w 5546031"/>
              <a:gd name="connsiteY50" fmla="*/ 1043268 h 6864730"/>
              <a:gd name="connsiteX51" fmla="*/ 2689899 w 5546031"/>
              <a:gd name="connsiteY51" fmla="*/ 1039210 h 6864730"/>
              <a:gd name="connsiteX52" fmla="*/ 2689899 w 5546031"/>
              <a:gd name="connsiteY52" fmla="*/ 1038672 h 6864730"/>
              <a:gd name="connsiteX53" fmla="*/ 2635893 w 5546031"/>
              <a:gd name="connsiteY53" fmla="*/ 1044116 h 6864730"/>
              <a:gd name="connsiteX54" fmla="*/ 2113835 w 5546031"/>
              <a:gd name="connsiteY54" fmla="*/ 522058 h 6864730"/>
              <a:gd name="connsiteX55" fmla="*/ 2635893 w 5546031"/>
              <a:gd name="connsiteY55" fmla="*/ 0 h 6864730"/>
              <a:gd name="connsiteX0" fmla="*/ 1577115 w 5546031"/>
              <a:gd name="connsiteY0" fmla="*/ 2106064 h 6864730"/>
              <a:gd name="connsiteX1" fmla="*/ 2099173 w 5546031"/>
              <a:gd name="connsiteY1" fmla="*/ 2628122 h 6864730"/>
              <a:gd name="connsiteX2" fmla="*/ 1577115 w 5546031"/>
              <a:gd name="connsiteY2" fmla="*/ 3150180 h 6864730"/>
              <a:gd name="connsiteX3" fmla="*/ 1055057 w 5546031"/>
              <a:gd name="connsiteY3" fmla="*/ 2628122 h 6864730"/>
              <a:gd name="connsiteX4" fmla="*/ 1577115 w 5546031"/>
              <a:gd name="connsiteY4" fmla="*/ 2106064 h 6864730"/>
              <a:gd name="connsiteX5" fmla="*/ 2635893 w 5546031"/>
              <a:gd name="connsiteY5" fmla="*/ 0 h 6864730"/>
              <a:gd name="connsiteX6" fmla="*/ 2649648 w 5546031"/>
              <a:gd name="connsiteY6" fmla="*/ 1387 h 6864730"/>
              <a:gd name="connsiteX7" fmla="*/ 2649648 w 5546031"/>
              <a:gd name="connsiteY7" fmla="*/ 537 h 6864730"/>
              <a:gd name="connsiteX8" fmla="*/ 3846766 w 5546031"/>
              <a:gd name="connsiteY8" fmla="*/ 0 h 6864730"/>
              <a:gd name="connsiteX9" fmla="*/ 3846766 w 5546031"/>
              <a:gd name="connsiteY9" fmla="*/ 537 h 6864730"/>
              <a:gd name="connsiteX10" fmla="*/ 5545537 w 5546031"/>
              <a:gd name="connsiteY10" fmla="*/ 537 h 6864730"/>
              <a:gd name="connsiteX11" fmla="*/ 5545536 w 5546031"/>
              <a:gd name="connsiteY11" fmla="*/ 6860545 h 6864730"/>
              <a:gd name="connsiteX12" fmla="*/ 1067337 w 5546031"/>
              <a:gd name="connsiteY12" fmla="*/ 6863300 h 6864730"/>
              <a:gd name="connsiteX13" fmla="*/ 1069719 w 5546031"/>
              <a:gd name="connsiteY13" fmla="*/ 6318334 h 6864730"/>
              <a:gd name="connsiteX14" fmla="*/ 1069720 w 5546031"/>
              <a:gd name="connsiteY14" fmla="*/ 6318321 h 6864730"/>
              <a:gd name="connsiteX15" fmla="*/ 1069719 w 5546031"/>
              <a:gd name="connsiteY15" fmla="*/ 6318310 h 6864730"/>
              <a:gd name="connsiteX16" fmla="*/ 1061010 w 5546031"/>
              <a:gd name="connsiteY16" fmla="*/ 6219603 h 6864730"/>
              <a:gd name="connsiteX17" fmla="*/ 624433 w 5546031"/>
              <a:gd name="connsiteY17" fmla="*/ 5771972 h 6864730"/>
              <a:gd name="connsiteX18" fmla="*/ 426816 w 5546031"/>
              <a:gd name="connsiteY18" fmla="*/ 5735384 h 6864730"/>
              <a:gd name="connsiteX19" fmla="*/ 9971 w 5546031"/>
              <a:gd name="connsiteY19" fmla="*/ 5223932 h 6864730"/>
              <a:gd name="connsiteX20" fmla="*/ 426816 w 5546031"/>
              <a:gd name="connsiteY20" fmla="*/ 4712481 h 6864730"/>
              <a:gd name="connsiteX21" fmla="*/ 512040 w 5546031"/>
              <a:gd name="connsiteY21" fmla="*/ 4703889 h 6864730"/>
              <a:gd name="connsiteX22" fmla="*/ 512040 w 5546031"/>
              <a:gd name="connsiteY22" fmla="*/ 4703511 h 6864730"/>
              <a:gd name="connsiteX23" fmla="*/ 423086 w 5546031"/>
              <a:gd name="connsiteY23" fmla="*/ 4694544 h 6864730"/>
              <a:gd name="connsiteX24" fmla="*/ 0 w 5546031"/>
              <a:gd name="connsiteY24" fmla="*/ 4175435 h 6864730"/>
              <a:gd name="connsiteX25" fmla="*/ 529874 w 5546031"/>
              <a:gd name="connsiteY25" fmla="*/ 3645561 h 6864730"/>
              <a:gd name="connsiteX26" fmla="*/ 1048983 w 5546031"/>
              <a:gd name="connsiteY26" fmla="*/ 4068647 h 6864730"/>
              <a:gd name="connsiteX27" fmla="*/ 1057146 w 5546031"/>
              <a:gd name="connsiteY27" fmla="*/ 4149617 h 6864730"/>
              <a:gd name="connsiteX28" fmla="*/ 1069719 w 5546031"/>
              <a:gd name="connsiteY28" fmla="*/ 4620012 h 6864730"/>
              <a:gd name="connsiteX29" fmla="*/ 1095113 w 5546031"/>
              <a:gd name="connsiteY29" fmla="*/ 4538207 h 6864730"/>
              <a:gd name="connsiteX30" fmla="*/ 1576145 w 5546031"/>
              <a:gd name="connsiteY30" fmla="*/ 4219357 h 6864730"/>
              <a:gd name="connsiteX31" fmla="*/ 1609779 w 5546031"/>
              <a:gd name="connsiteY31" fmla="*/ 4222748 h 6864730"/>
              <a:gd name="connsiteX32" fmla="*/ 1609779 w 5546031"/>
              <a:gd name="connsiteY32" fmla="*/ 4205666 h 6864730"/>
              <a:gd name="connsiteX33" fmla="*/ 1577115 w 5546031"/>
              <a:gd name="connsiteY33" fmla="*/ 4208959 h 6864730"/>
              <a:gd name="connsiteX34" fmla="*/ 1055057 w 5546031"/>
              <a:gd name="connsiteY34" fmla="*/ 3686901 h 6864730"/>
              <a:gd name="connsiteX35" fmla="*/ 1577115 w 5546031"/>
              <a:gd name="connsiteY35" fmla="*/ 3164843 h 6864730"/>
              <a:gd name="connsiteX36" fmla="*/ 2088567 w 5546031"/>
              <a:gd name="connsiteY36" fmla="*/ 3581688 h 6864730"/>
              <a:gd name="connsiteX37" fmla="*/ 2098635 w 5546031"/>
              <a:gd name="connsiteY37" fmla="*/ 3681565 h 6864730"/>
              <a:gd name="connsiteX38" fmla="*/ 2113837 w 5546031"/>
              <a:gd name="connsiteY38" fmla="*/ 3681565 h 6864730"/>
              <a:gd name="connsiteX39" fmla="*/ 2113837 w 5546031"/>
              <a:gd name="connsiteY39" fmla="*/ 2637449 h 6864730"/>
              <a:gd name="connsiteX40" fmla="*/ 2114775 w 5546031"/>
              <a:gd name="connsiteY40" fmla="*/ 2637449 h 6864730"/>
              <a:gd name="connsiteX41" fmla="*/ 2113835 w 5546031"/>
              <a:gd name="connsiteY41" fmla="*/ 2628122 h 6864730"/>
              <a:gd name="connsiteX42" fmla="*/ 2635893 w 5546031"/>
              <a:gd name="connsiteY42" fmla="*/ 2106064 h 6864730"/>
              <a:gd name="connsiteX43" fmla="*/ 2649648 w 5546031"/>
              <a:gd name="connsiteY43" fmla="*/ 2107451 h 6864730"/>
              <a:gd name="connsiteX44" fmla="*/ 2649648 w 5546031"/>
              <a:gd name="connsiteY44" fmla="*/ 2090015 h 6864730"/>
              <a:gd name="connsiteX45" fmla="*/ 2635894 w 5546031"/>
              <a:gd name="connsiteY45" fmla="*/ 2091401 h 6864730"/>
              <a:gd name="connsiteX46" fmla="*/ 2113836 w 5546031"/>
              <a:gd name="connsiteY46" fmla="*/ 1569343 h 6864730"/>
              <a:gd name="connsiteX47" fmla="*/ 2635894 w 5546031"/>
              <a:gd name="connsiteY47" fmla="*/ 1047285 h 6864730"/>
              <a:gd name="connsiteX48" fmla="*/ 2649648 w 5546031"/>
              <a:gd name="connsiteY48" fmla="*/ 1048672 h 6864730"/>
              <a:gd name="connsiteX49" fmla="*/ 2649648 w 5546031"/>
              <a:gd name="connsiteY49" fmla="*/ 1043268 h 6864730"/>
              <a:gd name="connsiteX50" fmla="*/ 2689899 w 5546031"/>
              <a:gd name="connsiteY50" fmla="*/ 1039210 h 6864730"/>
              <a:gd name="connsiteX51" fmla="*/ 2689899 w 5546031"/>
              <a:gd name="connsiteY51" fmla="*/ 1038672 h 6864730"/>
              <a:gd name="connsiteX52" fmla="*/ 2635893 w 5546031"/>
              <a:gd name="connsiteY52" fmla="*/ 1044116 h 6864730"/>
              <a:gd name="connsiteX53" fmla="*/ 2113835 w 5546031"/>
              <a:gd name="connsiteY53" fmla="*/ 522058 h 6864730"/>
              <a:gd name="connsiteX54" fmla="*/ 2635893 w 5546031"/>
              <a:gd name="connsiteY54" fmla="*/ 0 h 6864730"/>
              <a:gd name="connsiteX0" fmla="*/ 1577115 w 5546031"/>
              <a:gd name="connsiteY0" fmla="*/ 2106064 h 6864730"/>
              <a:gd name="connsiteX1" fmla="*/ 2099173 w 5546031"/>
              <a:gd name="connsiteY1" fmla="*/ 2628122 h 6864730"/>
              <a:gd name="connsiteX2" fmla="*/ 1577115 w 5546031"/>
              <a:gd name="connsiteY2" fmla="*/ 3150180 h 6864730"/>
              <a:gd name="connsiteX3" fmla="*/ 1055057 w 5546031"/>
              <a:gd name="connsiteY3" fmla="*/ 2628122 h 6864730"/>
              <a:gd name="connsiteX4" fmla="*/ 1577115 w 5546031"/>
              <a:gd name="connsiteY4" fmla="*/ 2106064 h 6864730"/>
              <a:gd name="connsiteX5" fmla="*/ 2635893 w 5546031"/>
              <a:gd name="connsiteY5" fmla="*/ 0 h 6864730"/>
              <a:gd name="connsiteX6" fmla="*/ 2649648 w 5546031"/>
              <a:gd name="connsiteY6" fmla="*/ 1387 h 6864730"/>
              <a:gd name="connsiteX7" fmla="*/ 2649648 w 5546031"/>
              <a:gd name="connsiteY7" fmla="*/ 537 h 6864730"/>
              <a:gd name="connsiteX8" fmla="*/ 3846766 w 5546031"/>
              <a:gd name="connsiteY8" fmla="*/ 0 h 6864730"/>
              <a:gd name="connsiteX9" fmla="*/ 3846766 w 5546031"/>
              <a:gd name="connsiteY9" fmla="*/ 537 h 6864730"/>
              <a:gd name="connsiteX10" fmla="*/ 5545537 w 5546031"/>
              <a:gd name="connsiteY10" fmla="*/ 537 h 6864730"/>
              <a:gd name="connsiteX11" fmla="*/ 5545536 w 5546031"/>
              <a:gd name="connsiteY11" fmla="*/ 6860545 h 6864730"/>
              <a:gd name="connsiteX12" fmla="*/ 1067337 w 5546031"/>
              <a:gd name="connsiteY12" fmla="*/ 6863300 h 6864730"/>
              <a:gd name="connsiteX13" fmla="*/ 1069719 w 5546031"/>
              <a:gd name="connsiteY13" fmla="*/ 6318334 h 6864730"/>
              <a:gd name="connsiteX14" fmla="*/ 1069720 w 5546031"/>
              <a:gd name="connsiteY14" fmla="*/ 6318321 h 6864730"/>
              <a:gd name="connsiteX15" fmla="*/ 1069719 w 5546031"/>
              <a:gd name="connsiteY15" fmla="*/ 6318310 h 6864730"/>
              <a:gd name="connsiteX16" fmla="*/ 1061010 w 5546031"/>
              <a:gd name="connsiteY16" fmla="*/ 6219603 h 6864730"/>
              <a:gd name="connsiteX17" fmla="*/ 624433 w 5546031"/>
              <a:gd name="connsiteY17" fmla="*/ 5771972 h 6864730"/>
              <a:gd name="connsiteX18" fmla="*/ 426816 w 5546031"/>
              <a:gd name="connsiteY18" fmla="*/ 5735384 h 6864730"/>
              <a:gd name="connsiteX19" fmla="*/ 9971 w 5546031"/>
              <a:gd name="connsiteY19" fmla="*/ 5223932 h 6864730"/>
              <a:gd name="connsiteX20" fmla="*/ 426816 w 5546031"/>
              <a:gd name="connsiteY20" fmla="*/ 4712481 h 6864730"/>
              <a:gd name="connsiteX21" fmla="*/ 512040 w 5546031"/>
              <a:gd name="connsiteY21" fmla="*/ 4703889 h 6864730"/>
              <a:gd name="connsiteX22" fmla="*/ 512040 w 5546031"/>
              <a:gd name="connsiteY22" fmla="*/ 4703511 h 6864730"/>
              <a:gd name="connsiteX23" fmla="*/ 423086 w 5546031"/>
              <a:gd name="connsiteY23" fmla="*/ 4694544 h 6864730"/>
              <a:gd name="connsiteX24" fmla="*/ 0 w 5546031"/>
              <a:gd name="connsiteY24" fmla="*/ 4175435 h 6864730"/>
              <a:gd name="connsiteX25" fmla="*/ 529874 w 5546031"/>
              <a:gd name="connsiteY25" fmla="*/ 3645561 h 6864730"/>
              <a:gd name="connsiteX26" fmla="*/ 1048983 w 5546031"/>
              <a:gd name="connsiteY26" fmla="*/ 4068647 h 6864730"/>
              <a:gd name="connsiteX27" fmla="*/ 1057146 w 5546031"/>
              <a:gd name="connsiteY27" fmla="*/ 4149617 h 6864730"/>
              <a:gd name="connsiteX28" fmla="*/ 1069719 w 5546031"/>
              <a:gd name="connsiteY28" fmla="*/ 4620012 h 6864730"/>
              <a:gd name="connsiteX29" fmla="*/ 1095113 w 5546031"/>
              <a:gd name="connsiteY29" fmla="*/ 4538207 h 6864730"/>
              <a:gd name="connsiteX30" fmla="*/ 1576145 w 5546031"/>
              <a:gd name="connsiteY30" fmla="*/ 4219357 h 6864730"/>
              <a:gd name="connsiteX31" fmla="*/ 1609779 w 5546031"/>
              <a:gd name="connsiteY31" fmla="*/ 4222748 h 6864730"/>
              <a:gd name="connsiteX32" fmla="*/ 1609779 w 5546031"/>
              <a:gd name="connsiteY32" fmla="*/ 4205666 h 6864730"/>
              <a:gd name="connsiteX33" fmla="*/ 1577115 w 5546031"/>
              <a:gd name="connsiteY33" fmla="*/ 4208959 h 6864730"/>
              <a:gd name="connsiteX34" fmla="*/ 1055057 w 5546031"/>
              <a:gd name="connsiteY34" fmla="*/ 3686901 h 6864730"/>
              <a:gd name="connsiteX35" fmla="*/ 1577115 w 5546031"/>
              <a:gd name="connsiteY35" fmla="*/ 3164843 h 6864730"/>
              <a:gd name="connsiteX36" fmla="*/ 2088567 w 5546031"/>
              <a:gd name="connsiteY36" fmla="*/ 3581688 h 6864730"/>
              <a:gd name="connsiteX37" fmla="*/ 2098635 w 5546031"/>
              <a:gd name="connsiteY37" fmla="*/ 3681565 h 6864730"/>
              <a:gd name="connsiteX38" fmla="*/ 2113837 w 5546031"/>
              <a:gd name="connsiteY38" fmla="*/ 3681565 h 6864730"/>
              <a:gd name="connsiteX39" fmla="*/ 2113837 w 5546031"/>
              <a:gd name="connsiteY39" fmla="*/ 2637449 h 6864730"/>
              <a:gd name="connsiteX40" fmla="*/ 2114775 w 5546031"/>
              <a:gd name="connsiteY40" fmla="*/ 2637449 h 6864730"/>
              <a:gd name="connsiteX41" fmla="*/ 2113835 w 5546031"/>
              <a:gd name="connsiteY41" fmla="*/ 2628122 h 6864730"/>
              <a:gd name="connsiteX42" fmla="*/ 2635893 w 5546031"/>
              <a:gd name="connsiteY42" fmla="*/ 2106064 h 6864730"/>
              <a:gd name="connsiteX43" fmla="*/ 2649648 w 5546031"/>
              <a:gd name="connsiteY43" fmla="*/ 2107451 h 6864730"/>
              <a:gd name="connsiteX44" fmla="*/ 2649648 w 5546031"/>
              <a:gd name="connsiteY44" fmla="*/ 2090015 h 6864730"/>
              <a:gd name="connsiteX45" fmla="*/ 2635894 w 5546031"/>
              <a:gd name="connsiteY45" fmla="*/ 2091401 h 6864730"/>
              <a:gd name="connsiteX46" fmla="*/ 2113836 w 5546031"/>
              <a:gd name="connsiteY46" fmla="*/ 1569343 h 6864730"/>
              <a:gd name="connsiteX47" fmla="*/ 2635894 w 5546031"/>
              <a:gd name="connsiteY47" fmla="*/ 1047285 h 6864730"/>
              <a:gd name="connsiteX48" fmla="*/ 2649648 w 5546031"/>
              <a:gd name="connsiteY48" fmla="*/ 1048672 h 6864730"/>
              <a:gd name="connsiteX49" fmla="*/ 2649648 w 5546031"/>
              <a:gd name="connsiteY49" fmla="*/ 1043268 h 6864730"/>
              <a:gd name="connsiteX50" fmla="*/ 2689899 w 5546031"/>
              <a:gd name="connsiteY50" fmla="*/ 1039210 h 6864730"/>
              <a:gd name="connsiteX51" fmla="*/ 2635893 w 5546031"/>
              <a:gd name="connsiteY51" fmla="*/ 1044116 h 6864730"/>
              <a:gd name="connsiteX52" fmla="*/ 2113835 w 5546031"/>
              <a:gd name="connsiteY52" fmla="*/ 522058 h 6864730"/>
              <a:gd name="connsiteX53" fmla="*/ 2635893 w 5546031"/>
              <a:gd name="connsiteY53" fmla="*/ 0 h 6864730"/>
              <a:gd name="connsiteX0" fmla="*/ 1577115 w 5546031"/>
              <a:gd name="connsiteY0" fmla="*/ 2106064 h 6864730"/>
              <a:gd name="connsiteX1" fmla="*/ 2099173 w 5546031"/>
              <a:gd name="connsiteY1" fmla="*/ 2628122 h 6864730"/>
              <a:gd name="connsiteX2" fmla="*/ 1577115 w 5546031"/>
              <a:gd name="connsiteY2" fmla="*/ 3150180 h 6864730"/>
              <a:gd name="connsiteX3" fmla="*/ 1055057 w 5546031"/>
              <a:gd name="connsiteY3" fmla="*/ 2628122 h 6864730"/>
              <a:gd name="connsiteX4" fmla="*/ 1577115 w 5546031"/>
              <a:gd name="connsiteY4" fmla="*/ 2106064 h 6864730"/>
              <a:gd name="connsiteX5" fmla="*/ 2635893 w 5546031"/>
              <a:gd name="connsiteY5" fmla="*/ 0 h 6864730"/>
              <a:gd name="connsiteX6" fmla="*/ 2649648 w 5546031"/>
              <a:gd name="connsiteY6" fmla="*/ 1387 h 6864730"/>
              <a:gd name="connsiteX7" fmla="*/ 2649648 w 5546031"/>
              <a:gd name="connsiteY7" fmla="*/ 537 h 6864730"/>
              <a:gd name="connsiteX8" fmla="*/ 3846766 w 5546031"/>
              <a:gd name="connsiteY8" fmla="*/ 0 h 6864730"/>
              <a:gd name="connsiteX9" fmla="*/ 3846766 w 5546031"/>
              <a:gd name="connsiteY9" fmla="*/ 537 h 6864730"/>
              <a:gd name="connsiteX10" fmla="*/ 5545537 w 5546031"/>
              <a:gd name="connsiteY10" fmla="*/ 537 h 6864730"/>
              <a:gd name="connsiteX11" fmla="*/ 5545536 w 5546031"/>
              <a:gd name="connsiteY11" fmla="*/ 6860545 h 6864730"/>
              <a:gd name="connsiteX12" fmla="*/ 1067337 w 5546031"/>
              <a:gd name="connsiteY12" fmla="*/ 6863300 h 6864730"/>
              <a:gd name="connsiteX13" fmla="*/ 1069719 w 5546031"/>
              <a:gd name="connsiteY13" fmla="*/ 6318334 h 6864730"/>
              <a:gd name="connsiteX14" fmla="*/ 1069720 w 5546031"/>
              <a:gd name="connsiteY14" fmla="*/ 6318321 h 6864730"/>
              <a:gd name="connsiteX15" fmla="*/ 1069719 w 5546031"/>
              <a:gd name="connsiteY15" fmla="*/ 6318310 h 6864730"/>
              <a:gd name="connsiteX16" fmla="*/ 1061010 w 5546031"/>
              <a:gd name="connsiteY16" fmla="*/ 6219603 h 6864730"/>
              <a:gd name="connsiteX17" fmla="*/ 624433 w 5546031"/>
              <a:gd name="connsiteY17" fmla="*/ 5771972 h 6864730"/>
              <a:gd name="connsiteX18" fmla="*/ 426816 w 5546031"/>
              <a:gd name="connsiteY18" fmla="*/ 5735384 h 6864730"/>
              <a:gd name="connsiteX19" fmla="*/ 9971 w 5546031"/>
              <a:gd name="connsiteY19" fmla="*/ 5223932 h 6864730"/>
              <a:gd name="connsiteX20" fmla="*/ 426816 w 5546031"/>
              <a:gd name="connsiteY20" fmla="*/ 4712481 h 6864730"/>
              <a:gd name="connsiteX21" fmla="*/ 512040 w 5546031"/>
              <a:gd name="connsiteY21" fmla="*/ 4703889 h 6864730"/>
              <a:gd name="connsiteX22" fmla="*/ 512040 w 5546031"/>
              <a:gd name="connsiteY22" fmla="*/ 4703511 h 6864730"/>
              <a:gd name="connsiteX23" fmla="*/ 423086 w 5546031"/>
              <a:gd name="connsiteY23" fmla="*/ 4694544 h 6864730"/>
              <a:gd name="connsiteX24" fmla="*/ 0 w 5546031"/>
              <a:gd name="connsiteY24" fmla="*/ 4175435 h 6864730"/>
              <a:gd name="connsiteX25" fmla="*/ 529874 w 5546031"/>
              <a:gd name="connsiteY25" fmla="*/ 3645561 h 6864730"/>
              <a:gd name="connsiteX26" fmla="*/ 1048983 w 5546031"/>
              <a:gd name="connsiteY26" fmla="*/ 4068647 h 6864730"/>
              <a:gd name="connsiteX27" fmla="*/ 1057146 w 5546031"/>
              <a:gd name="connsiteY27" fmla="*/ 4149617 h 6864730"/>
              <a:gd name="connsiteX28" fmla="*/ 1069719 w 5546031"/>
              <a:gd name="connsiteY28" fmla="*/ 4620012 h 6864730"/>
              <a:gd name="connsiteX29" fmla="*/ 1095113 w 5546031"/>
              <a:gd name="connsiteY29" fmla="*/ 4538207 h 6864730"/>
              <a:gd name="connsiteX30" fmla="*/ 1576145 w 5546031"/>
              <a:gd name="connsiteY30" fmla="*/ 4219357 h 6864730"/>
              <a:gd name="connsiteX31" fmla="*/ 1609779 w 5546031"/>
              <a:gd name="connsiteY31" fmla="*/ 4222748 h 6864730"/>
              <a:gd name="connsiteX32" fmla="*/ 1609779 w 5546031"/>
              <a:gd name="connsiteY32" fmla="*/ 4205666 h 6864730"/>
              <a:gd name="connsiteX33" fmla="*/ 1577115 w 5546031"/>
              <a:gd name="connsiteY33" fmla="*/ 4208959 h 6864730"/>
              <a:gd name="connsiteX34" fmla="*/ 1055057 w 5546031"/>
              <a:gd name="connsiteY34" fmla="*/ 3686901 h 6864730"/>
              <a:gd name="connsiteX35" fmla="*/ 1577115 w 5546031"/>
              <a:gd name="connsiteY35" fmla="*/ 3164843 h 6864730"/>
              <a:gd name="connsiteX36" fmla="*/ 2088567 w 5546031"/>
              <a:gd name="connsiteY36" fmla="*/ 3581688 h 6864730"/>
              <a:gd name="connsiteX37" fmla="*/ 2098635 w 5546031"/>
              <a:gd name="connsiteY37" fmla="*/ 3681565 h 6864730"/>
              <a:gd name="connsiteX38" fmla="*/ 2113837 w 5546031"/>
              <a:gd name="connsiteY38" fmla="*/ 3681565 h 6864730"/>
              <a:gd name="connsiteX39" fmla="*/ 2113837 w 5546031"/>
              <a:gd name="connsiteY39" fmla="*/ 2637449 h 6864730"/>
              <a:gd name="connsiteX40" fmla="*/ 2114775 w 5546031"/>
              <a:gd name="connsiteY40" fmla="*/ 2637449 h 6864730"/>
              <a:gd name="connsiteX41" fmla="*/ 2113835 w 5546031"/>
              <a:gd name="connsiteY41" fmla="*/ 2628122 h 6864730"/>
              <a:gd name="connsiteX42" fmla="*/ 2635893 w 5546031"/>
              <a:gd name="connsiteY42" fmla="*/ 2106064 h 6864730"/>
              <a:gd name="connsiteX43" fmla="*/ 2649648 w 5546031"/>
              <a:gd name="connsiteY43" fmla="*/ 2107451 h 6864730"/>
              <a:gd name="connsiteX44" fmla="*/ 2649648 w 5546031"/>
              <a:gd name="connsiteY44" fmla="*/ 2090015 h 6864730"/>
              <a:gd name="connsiteX45" fmla="*/ 2635894 w 5546031"/>
              <a:gd name="connsiteY45" fmla="*/ 2091401 h 6864730"/>
              <a:gd name="connsiteX46" fmla="*/ 2113836 w 5546031"/>
              <a:gd name="connsiteY46" fmla="*/ 1569343 h 6864730"/>
              <a:gd name="connsiteX47" fmla="*/ 2635894 w 5546031"/>
              <a:gd name="connsiteY47" fmla="*/ 1047285 h 6864730"/>
              <a:gd name="connsiteX48" fmla="*/ 2649648 w 5546031"/>
              <a:gd name="connsiteY48" fmla="*/ 1048672 h 6864730"/>
              <a:gd name="connsiteX49" fmla="*/ 2649648 w 5546031"/>
              <a:gd name="connsiteY49" fmla="*/ 1043268 h 6864730"/>
              <a:gd name="connsiteX50" fmla="*/ 2635893 w 5546031"/>
              <a:gd name="connsiteY50" fmla="*/ 1044116 h 6864730"/>
              <a:gd name="connsiteX51" fmla="*/ 2113835 w 5546031"/>
              <a:gd name="connsiteY51" fmla="*/ 522058 h 6864730"/>
              <a:gd name="connsiteX52" fmla="*/ 2635893 w 5546031"/>
              <a:gd name="connsiteY52" fmla="*/ 0 h 6864730"/>
              <a:gd name="connsiteX0" fmla="*/ 1577115 w 5546031"/>
              <a:gd name="connsiteY0" fmla="*/ 2106064 h 6864730"/>
              <a:gd name="connsiteX1" fmla="*/ 2099173 w 5546031"/>
              <a:gd name="connsiteY1" fmla="*/ 2628122 h 6864730"/>
              <a:gd name="connsiteX2" fmla="*/ 1577115 w 5546031"/>
              <a:gd name="connsiteY2" fmla="*/ 3150180 h 6864730"/>
              <a:gd name="connsiteX3" fmla="*/ 1055057 w 5546031"/>
              <a:gd name="connsiteY3" fmla="*/ 2628122 h 6864730"/>
              <a:gd name="connsiteX4" fmla="*/ 1577115 w 5546031"/>
              <a:gd name="connsiteY4" fmla="*/ 2106064 h 6864730"/>
              <a:gd name="connsiteX5" fmla="*/ 2635893 w 5546031"/>
              <a:gd name="connsiteY5" fmla="*/ 0 h 6864730"/>
              <a:gd name="connsiteX6" fmla="*/ 2649648 w 5546031"/>
              <a:gd name="connsiteY6" fmla="*/ 1387 h 6864730"/>
              <a:gd name="connsiteX7" fmla="*/ 2649648 w 5546031"/>
              <a:gd name="connsiteY7" fmla="*/ 537 h 6864730"/>
              <a:gd name="connsiteX8" fmla="*/ 3846766 w 5546031"/>
              <a:gd name="connsiteY8" fmla="*/ 0 h 6864730"/>
              <a:gd name="connsiteX9" fmla="*/ 5545537 w 5546031"/>
              <a:gd name="connsiteY9" fmla="*/ 537 h 6864730"/>
              <a:gd name="connsiteX10" fmla="*/ 5545536 w 5546031"/>
              <a:gd name="connsiteY10" fmla="*/ 6860545 h 6864730"/>
              <a:gd name="connsiteX11" fmla="*/ 1067337 w 5546031"/>
              <a:gd name="connsiteY11" fmla="*/ 6863300 h 6864730"/>
              <a:gd name="connsiteX12" fmla="*/ 1069719 w 5546031"/>
              <a:gd name="connsiteY12" fmla="*/ 6318334 h 6864730"/>
              <a:gd name="connsiteX13" fmla="*/ 1069720 w 5546031"/>
              <a:gd name="connsiteY13" fmla="*/ 6318321 h 6864730"/>
              <a:gd name="connsiteX14" fmla="*/ 1069719 w 5546031"/>
              <a:gd name="connsiteY14" fmla="*/ 6318310 h 6864730"/>
              <a:gd name="connsiteX15" fmla="*/ 1061010 w 5546031"/>
              <a:gd name="connsiteY15" fmla="*/ 6219603 h 6864730"/>
              <a:gd name="connsiteX16" fmla="*/ 624433 w 5546031"/>
              <a:gd name="connsiteY16" fmla="*/ 5771972 h 6864730"/>
              <a:gd name="connsiteX17" fmla="*/ 426816 w 5546031"/>
              <a:gd name="connsiteY17" fmla="*/ 5735384 h 6864730"/>
              <a:gd name="connsiteX18" fmla="*/ 9971 w 5546031"/>
              <a:gd name="connsiteY18" fmla="*/ 5223932 h 6864730"/>
              <a:gd name="connsiteX19" fmla="*/ 426816 w 5546031"/>
              <a:gd name="connsiteY19" fmla="*/ 4712481 h 6864730"/>
              <a:gd name="connsiteX20" fmla="*/ 512040 w 5546031"/>
              <a:gd name="connsiteY20" fmla="*/ 4703889 h 6864730"/>
              <a:gd name="connsiteX21" fmla="*/ 512040 w 5546031"/>
              <a:gd name="connsiteY21" fmla="*/ 4703511 h 6864730"/>
              <a:gd name="connsiteX22" fmla="*/ 423086 w 5546031"/>
              <a:gd name="connsiteY22" fmla="*/ 4694544 h 6864730"/>
              <a:gd name="connsiteX23" fmla="*/ 0 w 5546031"/>
              <a:gd name="connsiteY23" fmla="*/ 4175435 h 6864730"/>
              <a:gd name="connsiteX24" fmla="*/ 529874 w 5546031"/>
              <a:gd name="connsiteY24" fmla="*/ 3645561 h 6864730"/>
              <a:gd name="connsiteX25" fmla="*/ 1048983 w 5546031"/>
              <a:gd name="connsiteY25" fmla="*/ 4068647 h 6864730"/>
              <a:gd name="connsiteX26" fmla="*/ 1057146 w 5546031"/>
              <a:gd name="connsiteY26" fmla="*/ 4149617 h 6864730"/>
              <a:gd name="connsiteX27" fmla="*/ 1069719 w 5546031"/>
              <a:gd name="connsiteY27" fmla="*/ 4620012 h 6864730"/>
              <a:gd name="connsiteX28" fmla="*/ 1095113 w 5546031"/>
              <a:gd name="connsiteY28" fmla="*/ 4538207 h 6864730"/>
              <a:gd name="connsiteX29" fmla="*/ 1576145 w 5546031"/>
              <a:gd name="connsiteY29" fmla="*/ 4219357 h 6864730"/>
              <a:gd name="connsiteX30" fmla="*/ 1609779 w 5546031"/>
              <a:gd name="connsiteY30" fmla="*/ 4222748 h 6864730"/>
              <a:gd name="connsiteX31" fmla="*/ 1609779 w 5546031"/>
              <a:gd name="connsiteY31" fmla="*/ 4205666 h 6864730"/>
              <a:gd name="connsiteX32" fmla="*/ 1577115 w 5546031"/>
              <a:gd name="connsiteY32" fmla="*/ 4208959 h 6864730"/>
              <a:gd name="connsiteX33" fmla="*/ 1055057 w 5546031"/>
              <a:gd name="connsiteY33" fmla="*/ 3686901 h 6864730"/>
              <a:gd name="connsiteX34" fmla="*/ 1577115 w 5546031"/>
              <a:gd name="connsiteY34" fmla="*/ 3164843 h 6864730"/>
              <a:gd name="connsiteX35" fmla="*/ 2088567 w 5546031"/>
              <a:gd name="connsiteY35" fmla="*/ 3581688 h 6864730"/>
              <a:gd name="connsiteX36" fmla="*/ 2098635 w 5546031"/>
              <a:gd name="connsiteY36" fmla="*/ 3681565 h 6864730"/>
              <a:gd name="connsiteX37" fmla="*/ 2113837 w 5546031"/>
              <a:gd name="connsiteY37" fmla="*/ 3681565 h 6864730"/>
              <a:gd name="connsiteX38" fmla="*/ 2113837 w 5546031"/>
              <a:gd name="connsiteY38" fmla="*/ 2637449 h 6864730"/>
              <a:gd name="connsiteX39" fmla="*/ 2114775 w 5546031"/>
              <a:gd name="connsiteY39" fmla="*/ 2637449 h 6864730"/>
              <a:gd name="connsiteX40" fmla="*/ 2113835 w 5546031"/>
              <a:gd name="connsiteY40" fmla="*/ 2628122 h 6864730"/>
              <a:gd name="connsiteX41" fmla="*/ 2635893 w 5546031"/>
              <a:gd name="connsiteY41" fmla="*/ 2106064 h 6864730"/>
              <a:gd name="connsiteX42" fmla="*/ 2649648 w 5546031"/>
              <a:gd name="connsiteY42" fmla="*/ 2107451 h 6864730"/>
              <a:gd name="connsiteX43" fmla="*/ 2649648 w 5546031"/>
              <a:gd name="connsiteY43" fmla="*/ 2090015 h 6864730"/>
              <a:gd name="connsiteX44" fmla="*/ 2635894 w 5546031"/>
              <a:gd name="connsiteY44" fmla="*/ 2091401 h 6864730"/>
              <a:gd name="connsiteX45" fmla="*/ 2113836 w 5546031"/>
              <a:gd name="connsiteY45" fmla="*/ 1569343 h 6864730"/>
              <a:gd name="connsiteX46" fmla="*/ 2635894 w 5546031"/>
              <a:gd name="connsiteY46" fmla="*/ 1047285 h 6864730"/>
              <a:gd name="connsiteX47" fmla="*/ 2649648 w 5546031"/>
              <a:gd name="connsiteY47" fmla="*/ 1048672 h 6864730"/>
              <a:gd name="connsiteX48" fmla="*/ 2649648 w 5546031"/>
              <a:gd name="connsiteY48" fmla="*/ 1043268 h 6864730"/>
              <a:gd name="connsiteX49" fmla="*/ 2635893 w 5546031"/>
              <a:gd name="connsiteY49" fmla="*/ 1044116 h 6864730"/>
              <a:gd name="connsiteX50" fmla="*/ 2113835 w 5546031"/>
              <a:gd name="connsiteY50" fmla="*/ 522058 h 6864730"/>
              <a:gd name="connsiteX51" fmla="*/ 2635893 w 5546031"/>
              <a:gd name="connsiteY51" fmla="*/ 0 h 6864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5546031" h="6864730">
                <a:moveTo>
                  <a:pt x="1577115" y="2106064"/>
                </a:moveTo>
                <a:cubicBezTo>
                  <a:pt x="1865440" y="2106064"/>
                  <a:pt x="2099173" y="2339797"/>
                  <a:pt x="2099173" y="2628122"/>
                </a:cubicBezTo>
                <a:cubicBezTo>
                  <a:pt x="2099173" y="2916447"/>
                  <a:pt x="1865440" y="3150180"/>
                  <a:pt x="1577115" y="3150180"/>
                </a:cubicBezTo>
                <a:cubicBezTo>
                  <a:pt x="1288790" y="3150180"/>
                  <a:pt x="1055057" y="2916447"/>
                  <a:pt x="1055057" y="2628122"/>
                </a:cubicBezTo>
                <a:cubicBezTo>
                  <a:pt x="1055057" y="2339797"/>
                  <a:pt x="1288790" y="2106064"/>
                  <a:pt x="1577115" y="2106064"/>
                </a:cubicBezTo>
                <a:close/>
                <a:moveTo>
                  <a:pt x="2635893" y="0"/>
                </a:moveTo>
                <a:lnTo>
                  <a:pt x="2649648" y="1387"/>
                </a:lnTo>
                <a:lnTo>
                  <a:pt x="2649648" y="537"/>
                </a:lnTo>
                <a:lnTo>
                  <a:pt x="3846766" y="0"/>
                </a:lnTo>
                <a:lnTo>
                  <a:pt x="5545537" y="537"/>
                </a:lnTo>
                <a:cubicBezTo>
                  <a:pt x="5543820" y="2314681"/>
                  <a:pt x="5547253" y="4546401"/>
                  <a:pt x="5545536" y="6860545"/>
                </a:cubicBezTo>
                <a:cubicBezTo>
                  <a:pt x="5545847" y="6861075"/>
                  <a:pt x="2560070" y="6867533"/>
                  <a:pt x="1067337" y="6863300"/>
                </a:cubicBezTo>
                <a:cubicBezTo>
                  <a:pt x="1068990" y="6701392"/>
                  <a:pt x="1068066" y="6480242"/>
                  <a:pt x="1069719" y="6318334"/>
                </a:cubicBezTo>
                <a:cubicBezTo>
                  <a:pt x="1069719" y="6318330"/>
                  <a:pt x="1069720" y="6318325"/>
                  <a:pt x="1069720" y="6318321"/>
                </a:cubicBezTo>
                <a:cubicBezTo>
                  <a:pt x="1069720" y="6318317"/>
                  <a:pt x="1069719" y="6318314"/>
                  <a:pt x="1069719" y="6318310"/>
                </a:cubicBezTo>
                <a:lnTo>
                  <a:pt x="1061010" y="6219603"/>
                </a:lnTo>
                <a:cubicBezTo>
                  <a:pt x="1020946" y="5995312"/>
                  <a:pt x="846793" y="5817474"/>
                  <a:pt x="624433" y="5771972"/>
                </a:cubicBezTo>
                <a:lnTo>
                  <a:pt x="426816" y="5735384"/>
                </a:lnTo>
                <a:cubicBezTo>
                  <a:pt x="188923" y="5686704"/>
                  <a:pt x="9971" y="5476217"/>
                  <a:pt x="9971" y="5223932"/>
                </a:cubicBezTo>
                <a:cubicBezTo>
                  <a:pt x="9971" y="4971648"/>
                  <a:pt x="188923" y="4761160"/>
                  <a:pt x="426816" y="4712481"/>
                </a:cubicBezTo>
                <a:lnTo>
                  <a:pt x="512040" y="4703889"/>
                </a:lnTo>
                <a:lnTo>
                  <a:pt x="512040" y="4703511"/>
                </a:lnTo>
                <a:lnTo>
                  <a:pt x="423086" y="4694544"/>
                </a:lnTo>
                <a:cubicBezTo>
                  <a:pt x="181632" y="4645135"/>
                  <a:pt x="0" y="4431496"/>
                  <a:pt x="0" y="4175435"/>
                </a:cubicBezTo>
                <a:cubicBezTo>
                  <a:pt x="0" y="3882794"/>
                  <a:pt x="237233" y="3645561"/>
                  <a:pt x="529874" y="3645561"/>
                </a:cubicBezTo>
                <a:cubicBezTo>
                  <a:pt x="785935" y="3645561"/>
                  <a:pt x="999574" y="3827193"/>
                  <a:pt x="1048983" y="4068647"/>
                </a:cubicBezTo>
                <a:lnTo>
                  <a:pt x="1057146" y="4149617"/>
                </a:lnTo>
                <a:cubicBezTo>
                  <a:pt x="1060602" y="4241511"/>
                  <a:pt x="1063391" y="4555247"/>
                  <a:pt x="1069719" y="4620012"/>
                </a:cubicBezTo>
                <a:lnTo>
                  <a:pt x="1095113" y="4538207"/>
                </a:lnTo>
                <a:cubicBezTo>
                  <a:pt x="1174366" y="4350832"/>
                  <a:pt x="1359902" y="4219357"/>
                  <a:pt x="1576145" y="4219357"/>
                </a:cubicBezTo>
                <a:lnTo>
                  <a:pt x="1609779" y="4222748"/>
                </a:lnTo>
                <a:lnTo>
                  <a:pt x="1609779" y="4205666"/>
                </a:lnTo>
                <a:lnTo>
                  <a:pt x="1577115" y="4208959"/>
                </a:lnTo>
                <a:cubicBezTo>
                  <a:pt x="1288790" y="4208959"/>
                  <a:pt x="1055057" y="3975226"/>
                  <a:pt x="1055057" y="3686901"/>
                </a:cubicBezTo>
                <a:cubicBezTo>
                  <a:pt x="1055057" y="3398576"/>
                  <a:pt x="1288790" y="3164843"/>
                  <a:pt x="1577115" y="3164843"/>
                </a:cubicBezTo>
                <a:cubicBezTo>
                  <a:pt x="1829399" y="3164843"/>
                  <a:pt x="2039887" y="3343795"/>
                  <a:pt x="2088567" y="3581688"/>
                </a:cubicBezTo>
                <a:lnTo>
                  <a:pt x="2098635" y="3681565"/>
                </a:lnTo>
                <a:lnTo>
                  <a:pt x="2113837" y="3681565"/>
                </a:lnTo>
                <a:lnTo>
                  <a:pt x="2113837" y="2637449"/>
                </a:lnTo>
                <a:lnTo>
                  <a:pt x="2114775" y="2637449"/>
                </a:lnTo>
                <a:cubicBezTo>
                  <a:pt x="2114462" y="2634340"/>
                  <a:pt x="2114148" y="2631231"/>
                  <a:pt x="2113835" y="2628122"/>
                </a:cubicBezTo>
                <a:cubicBezTo>
                  <a:pt x="2113835" y="2339797"/>
                  <a:pt x="2347568" y="2106064"/>
                  <a:pt x="2635893" y="2106064"/>
                </a:cubicBezTo>
                <a:lnTo>
                  <a:pt x="2649648" y="2107451"/>
                </a:lnTo>
                <a:lnTo>
                  <a:pt x="2649648" y="2090015"/>
                </a:lnTo>
                <a:lnTo>
                  <a:pt x="2635894" y="2091401"/>
                </a:lnTo>
                <a:cubicBezTo>
                  <a:pt x="2347569" y="2091401"/>
                  <a:pt x="2113836" y="1857668"/>
                  <a:pt x="2113836" y="1569343"/>
                </a:cubicBezTo>
                <a:cubicBezTo>
                  <a:pt x="2113836" y="1281018"/>
                  <a:pt x="2347569" y="1047285"/>
                  <a:pt x="2635894" y="1047285"/>
                </a:cubicBezTo>
                <a:lnTo>
                  <a:pt x="2649648" y="1048672"/>
                </a:lnTo>
                <a:lnTo>
                  <a:pt x="2649648" y="1043268"/>
                </a:lnTo>
                <a:lnTo>
                  <a:pt x="2635893" y="1044116"/>
                </a:lnTo>
                <a:cubicBezTo>
                  <a:pt x="2347568" y="1044116"/>
                  <a:pt x="2113835" y="810383"/>
                  <a:pt x="2113835" y="522058"/>
                </a:cubicBezTo>
                <a:cubicBezTo>
                  <a:pt x="2113835" y="233733"/>
                  <a:pt x="2347568" y="0"/>
                  <a:pt x="2635893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20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464190594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484188" y="333375"/>
            <a:ext cx="11228387" cy="9239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fi-FI"/>
              <a:t>Muokkaa perustyyliä </a:t>
            </a:r>
            <a:br>
              <a:rPr lang="fi-FI"/>
            </a:br>
            <a:r>
              <a:rPr lang="fi-FI"/>
              <a:t>napsauttamalla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484188" y="1628775"/>
            <a:ext cx="11228388" cy="4321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4" name="Päivämäärän paikkamerkki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765592" y="6237288"/>
            <a:ext cx="110240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2"/>
                </a:solidFill>
                <a:latin typeface="+mn-lt"/>
              </a:defRPr>
            </a:lvl1pPr>
          </a:lstStyle>
          <a:p>
            <a:fld id="{6D0B9357-9661-48F7-A1F2-C31C785BF849}" type="datetime1">
              <a:rPr lang="fi-FI" smtClean="0"/>
              <a:pPr/>
              <a:t>13.12.2023</a:t>
            </a:fld>
            <a:endParaRPr lang="fi-FI"/>
          </a:p>
        </p:txBody>
      </p:sp>
      <p:sp>
        <p:nvSpPr>
          <p:cNvPr id="5" name="Alatunnisteen paikkamerkki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88774" y="6238368"/>
            <a:ext cx="53645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fi-FI"/>
              <a:t>Etunimi Sukunimi</a:t>
            </a:r>
          </a:p>
        </p:txBody>
      </p:sp>
      <p:sp>
        <p:nvSpPr>
          <p:cNvPr id="6" name="Dian numeron paikkamerkki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74147" y="6237288"/>
            <a:ext cx="10442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+mn-lt"/>
              </a:defRPr>
            </a:lvl1pPr>
          </a:lstStyle>
          <a:p>
            <a:fld id="{74579C77-9DC3-4139-BDA4-AA8FE7814479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12" name="Kuva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1"/>
          <a:stretch>
            <a:fillRect/>
          </a:stretch>
        </p:blipFill>
        <p:spPr>
          <a:xfrm>
            <a:off x="474799" y="6237288"/>
            <a:ext cx="1440000" cy="425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0659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2"/>
          </a:solidFill>
          <a:latin typeface="+mj-lt"/>
          <a:ea typeface="Inter SemiBold" panose="02000503000000020004" pitchFamily="2" charset="0"/>
          <a:cs typeface="+mj-cs"/>
        </a:defRPr>
      </a:lvl1pPr>
    </p:titleStyle>
    <p:bodyStyle>
      <a:lvl1pPr marL="216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Inter" panose="02000503000000020004" pitchFamily="2" charset="0"/>
          <a:cs typeface="+mn-cs"/>
        </a:defRPr>
      </a:lvl1pPr>
      <a:lvl2pPr marL="360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Inter" panose="02000503000000020004" pitchFamily="2" charset="0"/>
          <a:cs typeface="+mn-cs"/>
        </a:defRPr>
      </a:lvl2pPr>
      <a:lvl3pPr marL="540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Inter" panose="02000503000000020004" pitchFamily="2" charset="0"/>
          <a:cs typeface="+mn-cs"/>
        </a:defRPr>
      </a:lvl3pPr>
      <a:lvl4pPr marL="720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Inter" panose="02000503000000020004" pitchFamily="2" charset="0"/>
          <a:cs typeface="+mn-cs"/>
        </a:defRPr>
      </a:lvl4pPr>
      <a:lvl5pPr marL="900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lang="fi-FI" sz="1600" kern="1200" dirty="0" smtClean="0">
          <a:solidFill>
            <a:schemeClr val="tx1"/>
          </a:solidFill>
          <a:latin typeface="+mn-lt"/>
          <a:ea typeface="Inter" panose="02000503000000020004" pitchFamily="2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5" pos="3749">
          <p15:clr>
            <a:srgbClr val="F26B43"/>
          </p15:clr>
        </p15:guide>
        <p15:guide id="16" orient="horz" pos="2160">
          <p15:clr>
            <a:srgbClr val="F26B43"/>
          </p15:clr>
        </p15:guide>
        <p15:guide id="17" pos="7378">
          <p15:clr>
            <a:srgbClr val="F26B43"/>
          </p15:clr>
        </p15:guide>
        <p15:guide id="19" orient="horz" pos="210">
          <p15:clr>
            <a:srgbClr val="F26B43"/>
          </p15:clr>
        </p15:guide>
        <p15:guide id="20" orient="horz" pos="3929">
          <p15:clr>
            <a:srgbClr val="F26B43"/>
          </p15:clr>
        </p15:guide>
        <p15:guide id="21" orient="horz" pos="799">
          <p15:clr>
            <a:srgbClr val="F26B43"/>
          </p15:clr>
        </p15:guide>
        <p15:guide id="22" orient="horz" pos="1026">
          <p15:clr>
            <a:srgbClr val="F26B43"/>
          </p15:clr>
        </p15:guide>
        <p15:guide id="23" pos="1436">
          <p15:clr>
            <a:srgbClr val="F26B43"/>
          </p15:clr>
        </p15:guide>
        <p15:guide id="24" orient="horz" pos="3748">
          <p15:clr>
            <a:srgbClr val="F26B43"/>
          </p15:clr>
        </p15:guide>
        <p15:guide id="25" orient="horz" pos="4156">
          <p15:clr>
            <a:srgbClr val="F26B43"/>
          </p15:clr>
        </p15:guide>
        <p15:guide id="26" pos="2638">
          <p15:clr>
            <a:srgbClr val="F26B43"/>
          </p15:clr>
        </p15:guide>
        <p15:guide id="27" pos="5042">
          <p15:clr>
            <a:srgbClr val="F26B43"/>
          </p15:clr>
        </p15:guide>
        <p15:guide id="28" pos="6244">
          <p15:clr>
            <a:srgbClr val="F26B43"/>
          </p15:clr>
        </p15:guide>
        <p15:guide id="29" pos="3931">
          <p15:clr>
            <a:srgbClr val="F26B43"/>
          </p15:clr>
        </p15:guide>
        <p15:guide id="30" pos="302">
          <p15:clr>
            <a:srgbClr val="F26B43"/>
          </p15:clr>
        </p15:guide>
        <p15:guide id="31" pos="3840">
          <p15:clr>
            <a:srgbClr val="F26B43"/>
          </p15:clr>
        </p15:guide>
        <p15:guide id="32" pos="665">
          <p15:clr>
            <a:srgbClr val="F26B43"/>
          </p15:clr>
        </p15:guide>
        <p15:guide id="33" orient="horz" pos="202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Otsikko 22">
            <a:extLst>
              <a:ext uri="{FF2B5EF4-FFF2-40B4-BE49-F238E27FC236}">
                <a16:creationId xmlns:a16="http://schemas.microsoft.com/office/drawing/2014/main" id="{7E8C28BC-FE12-F972-0F51-39F85DCA8B3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-229344"/>
            <a:ext cx="12192000" cy="714376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defRPr/>
            </a:pPr>
            <a:br>
              <a:rPr lang="fi-FI" sz="1400"/>
            </a:br>
            <a:r>
              <a:rPr lang="fi-FI" sz="1400">
                <a:solidFill>
                  <a:schemeClr val="bg1"/>
                </a:solidFill>
              </a:rPr>
              <a:t>Gerontologisen sosiaalityön asiakkaaksi tulon prosessi        </a:t>
            </a:r>
            <a:r>
              <a:rPr lang="fi-FI" sz="1400">
                <a:solidFill>
                  <a:schemeClr val="bg1"/>
                </a:solidFill>
                <a:latin typeface="Arial" panose="020B0604020202020204"/>
                <a:cs typeface="+mj-cs"/>
              </a:rPr>
              <a:t>                                                                                          </a:t>
            </a:r>
            <a:r>
              <a:rPr kumimoji="0" lang="fi-FI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cs typeface="+mj-cs"/>
              </a:rPr>
              <a:t>Luonnos</a:t>
            </a:r>
            <a:endParaRPr kumimoji="0" lang="fi-FI" sz="14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25" name="Suorakulmio 24">
            <a:extLst>
              <a:ext uri="{FF2B5EF4-FFF2-40B4-BE49-F238E27FC236}">
                <a16:creationId xmlns:a16="http://schemas.microsoft.com/office/drawing/2014/main" id="{251E339A-0E5E-0DB7-5411-D2C438D8E849}"/>
              </a:ext>
            </a:extLst>
          </p:cNvPr>
          <p:cNvSpPr/>
          <p:nvPr/>
        </p:nvSpPr>
        <p:spPr>
          <a:xfrm>
            <a:off x="-7951" y="485032"/>
            <a:ext cx="1453235" cy="117926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uoli-ilmoitus/ </a:t>
            </a:r>
            <a:r>
              <a:rPr kumimoji="0" lang="fi-FI" sz="11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siakas</a:t>
            </a:r>
            <a:r>
              <a:rPr kumimoji="0" lang="fi-FI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/omainen /kotihoito/ kotihoidon asiakasohjaus yhteydessä sosiaalihuoltoon</a:t>
            </a:r>
          </a:p>
        </p:txBody>
      </p:sp>
      <p:sp>
        <p:nvSpPr>
          <p:cNvPr id="31" name="Suorakulmio 30">
            <a:extLst>
              <a:ext uri="{FF2B5EF4-FFF2-40B4-BE49-F238E27FC236}">
                <a16:creationId xmlns:a16="http://schemas.microsoft.com/office/drawing/2014/main" id="{FFD84BA6-E911-74D4-09E3-21C6A2282296}"/>
              </a:ext>
            </a:extLst>
          </p:cNvPr>
          <p:cNvSpPr/>
          <p:nvPr/>
        </p:nvSpPr>
        <p:spPr>
          <a:xfrm>
            <a:off x="-7951" y="1663245"/>
            <a:ext cx="1453235" cy="1140544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skitetty huoli-ilmoituksien käsittely</a:t>
            </a:r>
          </a:p>
        </p:txBody>
      </p:sp>
      <p:sp>
        <p:nvSpPr>
          <p:cNvPr id="236" name="Suorakulmio 235">
            <a:extLst>
              <a:ext uri="{FF2B5EF4-FFF2-40B4-BE49-F238E27FC236}">
                <a16:creationId xmlns:a16="http://schemas.microsoft.com/office/drawing/2014/main" id="{2E4FF1FB-8C7E-F053-2E69-4560B545087A}"/>
              </a:ext>
            </a:extLst>
          </p:cNvPr>
          <p:cNvSpPr/>
          <p:nvPr/>
        </p:nvSpPr>
        <p:spPr>
          <a:xfrm>
            <a:off x="0" y="2798264"/>
            <a:ext cx="1445284" cy="231022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sian käsittelijä (gerontologinen sosiaaliohjaus/ sosiaalityö)</a:t>
            </a:r>
          </a:p>
        </p:txBody>
      </p:sp>
      <p:sp>
        <p:nvSpPr>
          <p:cNvPr id="241" name="Suorakulmio 240">
            <a:extLst>
              <a:ext uri="{FF2B5EF4-FFF2-40B4-BE49-F238E27FC236}">
                <a16:creationId xmlns:a16="http://schemas.microsoft.com/office/drawing/2014/main" id="{8723E32A-AAA6-D099-6AFE-5185F84D8A78}"/>
              </a:ext>
            </a:extLst>
          </p:cNvPr>
          <p:cNvSpPr/>
          <p:nvPr/>
        </p:nvSpPr>
        <p:spPr>
          <a:xfrm>
            <a:off x="0" y="5108487"/>
            <a:ext cx="1426989" cy="1133972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matyöntekijä</a:t>
            </a:r>
          </a:p>
        </p:txBody>
      </p:sp>
      <p:grpSp>
        <p:nvGrpSpPr>
          <p:cNvPr id="338" name="Ryhmä 337">
            <a:extLst>
              <a:ext uri="{FF2B5EF4-FFF2-40B4-BE49-F238E27FC236}">
                <a16:creationId xmlns:a16="http://schemas.microsoft.com/office/drawing/2014/main" id="{1A22AB25-F2A8-BE4A-5E82-4714EB3379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453235" y="530333"/>
            <a:ext cx="10328606" cy="5729995"/>
            <a:chOff x="890953" y="1959600"/>
            <a:chExt cx="11301047" cy="4898400"/>
          </a:xfrm>
        </p:grpSpPr>
        <p:sp>
          <p:nvSpPr>
            <p:cNvPr id="252" name="Suorakulmio 251">
              <a:extLst>
                <a:ext uri="{FF2B5EF4-FFF2-40B4-BE49-F238E27FC236}">
                  <a16:creationId xmlns:a16="http://schemas.microsoft.com/office/drawing/2014/main" id="{0DE4647D-5609-DCAC-9331-6C8B0D98198D}"/>
                </a:ext>
              </a:extLst>
            </p:cNvPr>
            <p:cNvSpPr/>
            <p:nvPr/>
          </p:nvSpPr>
          <p:spPr>
            <a:xfrm>
              <a:off x="890953" y="1959600"/>
              <a:ext cx="11301047" cy="9792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1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3" name="Suorakulmio 252">
              <a:extLst>
                <a:ext uri="{FF2B5EF4-FFF2-40B4-BE49-F238E27FC236}">
                  <a16:creationId xmlns:a16="http://schemas.microsoft.com/office/drawing/2014/main" id="{40AD686D-0364-D9C3-3BC2-1F1BEF4F9CC8}"/>
                </a:ext>
              </a:extLst>
            </p:cNvPr>
            <p:cNvSpPr/>
            <p:nvPr/>
          </p:nvSpPr>
          <p:spPr>
            <a:xfrm>
              <a:off x="890953" y="3919200"/>
              <a:ext cx="11301047" cy="9792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1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5" name="Suorakulmio 254">
              <a:extLst>
                <a:ext uri="{FF2B5EF4-FFF2-40B4-BE49-F238E27FC236}">
                  <a16:creationId xmlns:a16="http://schemas.microsoft.com/office/drawing/2014/main" id="{6C803995-D337-31BD-3FAC-CBAD6E13FC5E}"/>
                </a:ext>
              </a:extLst>
            </p:cNvPr>
            <p:cNvSpPr/>
            <p:nvPr/>
          </p:nvSpPr>
          <p:spPr>
            <a:xfrm>
              <a:off x="890953" y="5878800"/>
              <a:ext cx="11301047" cy="9792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1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24" name="Rectangle 158">
            <a:extLst>
              <a:ext uri="{FF2B5EF4-FFF2-40B4-BE49-F238E27FC236}">
                <a16:creationId xmlns:a16="http://schemas.microsoft.com/office/drawing/2014/main" id="{1D996F5E-D4A2-269D-A33E-D4B543A8C57E}"/>
              </a:ext>
            </a:extLst>
          </p:cNvPr>
          <p:cNvSpPr/>
          <p:nvPr/>
        </p:nvSpPr>
        <p:spPr>
          <a:xfrm>
            <a:off x="1693697" y="549164"/>
            <a:ext cx="1182466" cy="105267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54000" rIns="0" bIns="54000" rtlCol="0" anchor="ctr" anchorCtr="0"/>
          <a:lstStyle>
            <a:defPPr>
              <a:defRPr lang="fi-FI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4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srgbClr val="484A4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sian vireilletulo</a:t>
            </a:r>
          </a:p>
        </p:txBody>
      </p:sp>
      <p:sp>
        <p:nvSpPr>
          <p:cNvPr id="3" name="Rectangle 127">
            <a:extLst>
              <a:ext uri="{FF2B5EF4-FFF2-40B4-BE49-F238E27FC236}">
                <a16:creationId xmlns:a16="http://schemas.microsoft.com/office/drawing/2014/main" id="{A352D7D6-029A-341F-9F9A-D22A3A7ADE95}"/>
              </a:ext>
            </a:extLst>
          </p:cNvPr>
          <p:cNvSpPr/>
          <p:nvPr/>
        </p:nvSpPr>
        <p:spPr>
          <a:xfrm>
            <a:off x="1689788" y="1928312"/>
            <a:ext cx="1187665" cy="80750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54000" rIns="0" bIns="54000" rtlCol="0" anchor="ctr" anchorCtr="0"/>
          <a:lstStyle>
            <a:defPPr>
              <a:defRPr lang="fi-FI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4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srgbClr val="484A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ian kiireellisyyden arvio (onko yli 75v.)</a:t>
            </a:r>
            <a:endParaRPr kumimoji="0" lang="fi-FI" sz="10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7" name="Suora nuoliyhdysviiva 26">
            <a:extLst>
              <a:ext uri="{FF2B5EF4-FFF2-40B4-BE49-F238E27FC236}">
                <a16:creationId xmlns:a16="http://schemas.microsoft.com/office/drawing/2014/main" id="{3B2EAB4F-EC6A-356D-BFCD-371B1A148CF3}"/>
              </a:ext>
            </a:extLst>
          </p:cNvPr>
          <p:cNvCxnSpPr>
            <a:cxnSpLocks/>
          </p:cNvCxnSpPr>
          <p:nvPr/>
        </p:nvCxnSpPr>
        <p:spPr>
          <a:xfrm>
            <a:off x="2227950" y="1664292"/>
            <a:ext cx="0" cy="227881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5" name="Rectangle 127">
            <a:extLst>
              <a:ext uri="{FF2B5EF4-FFF2-40B4-BE49-F238E27FC236}">
                <a16:creationId xmlns:a16="http://schemas.microsoft.com/office/drawing/2014/main" id="{A7752943-BB44-5D24-BB2E-C5803AED9E0B}"/>
              </a:ext>
            </a:extLst>
          </p:cNvPr>
          <p:cNvSpPr/>
          <p:nvPr/>
        </p:nvSpPr>
        <p:spPr>
          <a:xfrm>
            <a:off x="3419758" y="1990018"/>
            <a:ext cx="1053490" cy="779022"/>
          </a:xfrm>
          <a:prstGeom prst="rect">
            <a:avLst/>
          </a:prstGeom>
          <a:solidFill>
            <a:srgbClr val="F4BFEC"/>
          </a:solidFill>
          <a:ln w="12700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fi-FI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4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srgbClr val="484A4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rityisen tuen tarpeen arviointi</a:t>
            </a:r>
            <a:endParaRPr kumimoji="0" lang="fi-FI" sz="10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6" name="Rectangle 127">
            <a:extLst>
              <a:ext uri="{FF2B5EF4-FFF2-40B4-BE49-F238E27FC236}">
                <a16:creationId xmlns:a16="http://schemas.microsoft.com/office/drawing/2014/main" id="{36C7FD33-6C7C-BE46-8170-8FD0FADF748B}"/>
              </a:ext>
            </a:extLst>
          </p:cNvPr>
          <p:cNvSpPr/>
          <p:nvPr/>
        </p:nvSpPr>
        <p:spPr>
          <a:xfrm>
            <a:off x="5149316" y="1950199"/>
            <a:ext cx="2924849" cy="784886"/>
          </a:xfrm>
          <a:prstGeom prst="rect">
            <a:avLst/>
          </a:prstGeom>
          <a:solidFill>
            <a:srgbClr val="F4BFEC"/>
          </a:solidFill>
          <a:ln w="12700"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fi-FI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4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srgbClr val="484A4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rvio käsittelijätahosta; lähitori, sosiaalipalveluiden ohjaus- ja neuvontapalvelut, kotihoito, kotihoidon asiakasohjaus, omaishoidon tuen asiakasohjaus, gerontologinen sosiaaliohjaus/ sosiaalityö</a:t>
            </a:r>
            <a:endParaRPr kumimoji="0" lang="fi-FI" sz="10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27" name="Suora nuoliyhdysviiva 226">
            <a:extLst>
              <a:ext uri="{FF2B5EF4-FFF2-40B4-BE49-F238E27FC236}">
                <a16:creationId xmlns:a16="http://schemas.microsoft.com/office/drawing/2014/main" id="{505E90A4-A401-4022-A7D2-4C181853B5E5}"/>
              </a:ext>
            </a:extLst>
          </p:cNvPr>
          <p:cNvCxnSpPr>
            <a:cxnSpLocks/>
          </p:cNvCxnSpPr>
          <p:nvPr/>
        </p:nvCxnSpPr>
        <p:spPr>
          <a:xfrm>
            <a:off x="2243238" y="2798264"/>
            <a:ext cx="0" cy="180209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9" name="Tekstiruutu 228">
            <a:extLst>
              <a:ext uri="{FF2B5EF4-FFF2-40B4-BE49-F238E27FC236}">
                <a16:creationId xmlns:a16="http://schemas.microsoft.com/office/drawing/2014/main" id="{FA6C70E1-B8EB-8579-C697-DC4D7865264F}"/>
              </a:ext>
            </a:extLst>
          </p:cNvPr>
          <p:cNvSpPr txBox="1"/>
          <p:nvPr/>
        </p:nvSpPr>
        <p:spPr>
          <a:xfrm>
            <a:off x="3035073" y="3130034"/>
            <a:ext cx="61028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>
                <a:ln>
                  <a:noFill/>
                </a:ln>
                <a:solidFill>
                  <a:srgbClr val="484A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0" name="Rectangle 80">
            <a:extLst>
              <a:ext uri="{FF2B5EF4-FFF2-40B4-BE49-F238E27FC236}">
                <a16:creationId xmlns:a16="http://schemas.microsoft.com/office/drawing/2014/main" id="{0FD00F81-8855-17F9-3459-DFD31F187F37}"/>
              </a:ext>
            </a:extLst>
          </p:cNvPr>
          <p:cNvSpPr/>
          <p:nvPr/>
        </p:nvSpPr>
        <p:spPr>
          <a:xfrm>
            <a:off x="1689789" y="3004983"/>
            <a:ext cx="1186376" cy="789691"/>
          </a:xfrm>
          <a:prstGeom prst="rect">
            <a:avLst/>
          </a:prstGeom>
          <a:solidFill>
            <a:srgbClr val="F4BFE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fi-FI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4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srgbClr val="484A4B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Arvioi asian uudelleen.</a:t>
            </a:r>
          </a:p>
        </p:txBody>
      </p:sp>
      <p:sp>
        <p:nvSpPr>
          <p:cNvPr id="231" name="Rectangle 80">
            <a:extLst>
              <a:ext uri="{FF2B5EF4-FFF2-40B4-BE49-F238E27FC236}">
                <a16:creationId xmlns:a16="http://schemas.microsoft.com/office/drawing/2014/main" id="{564F748C-F923-6442-61E9-0E7E28FEEAF6}"/>
              </a:ext>
            </a:extLst>
          </p:cNvPr>
          <p:cNvSpPr/>
          <p:nvPr/>
        </p:nvSpPr>
        <p:spPr>
          <a:xfrm>
            <a:off x="3419759" y="3023929"/>
            <a:ext cx="1038797" cy="775273"/>
          </a:xfrm>
          <a:prstGeom prst="rect">
            <a:avLst/>
          </a:prstGeom>
          <a:solidFill>
            <a:srgbClr val="F4BFE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fi-FI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4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srgbClr val="484A4B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Asiakkaan tilanteen selvittelyä ja arviointia</a:t>
            </a:r>
          </a:p>
        </p:txBody>
      </p:sp>
      <p:sp>
        <p:nvSpPr>
          <p:cNvPr id="232" name="Rectangle 80">
            <a:extLst>
              <a:ext uri="{FF2B5EF4-FFF2-40B4-BE49-F238E27FC236}">
                <a16:creationId xmlns:a16="http://schemas.microsoft.com/office/drawing/2014/main" id="{2C9259C3-A1BD-CF3A-DB3C-C60B084ECC8B}"/>
              </a:ext>
            </a:extLst>
          </p:cNvPr>
          <p:cNvSpPr/>
          <p:nvPr/>
        </p:nvSpPr>
        <p:spPr>
          <a:xfrm>
            <a:off x="5149316" y="3009680"/>
            <a:ext cx="2896807" cy="775273"/>
          </a:xfrm>
          <a:prstGeom prst="rect">
            <a:avLst/>
          </a:prstGeom>
          <a:solidFill>
            <a:srgbClr val="F4BFE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fi-FI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4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 err="1">
                <a:ln>
                  <a:noFill/>
                </a:ln>
                <a:solidFill>
                  <a:srgbClr val="484A4B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Kontaktoi</a:t>
            </a: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srgbClr val="484A4B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tarvittavia yhteistyötahoja; kotihoito, kotihoidon asiakasohjaus, lähitori, mielenterveys- ja päihdepalvelut, vammaispalvelut, vanhus- ja neuropsykiatrian poliklinikka, 3.sektorin toimijat, palotarkastaja, terveystarkastaja ym.</a:t>
            </a:r>
          </a:p>
        </p:txBody>
      </p:sp>
      <p:sp>
        <p:nvSpPr>
          <p:cNvPr id="233" name="Rectangle 80">
            <a:extLst>
              <a:ext uri="{FF2B5EF4-FFF2-40B4-BE49-F238E27FC236}">
                <a16:creationId xmlns:a16="http://schemas.microsoft.com/office/drawing/2014/main" id="{BE3A7A60-9CB0-6B5D-F6AE-5CF124CCC734}"/>
              </a:ext>
            </a:extLst>
          </p:cNvPr>
          <p:cNvSpPr/>
          <p:nvPr/>
        </p:nvSpPr>
        <p:spPr>
          <a:xfrm>
            <a:off x="8471642" y="3024114"/>
            <a:ext cx="1038797" cy="789691"/>
          </a:xfrm>
          <a:prstGeom prst="rect">
            <a:avLst/>
          </a:prstGeom>
          <a:solidFill>
            <a:srgbClr val="F4BFE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fi-FI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4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srgbClr val="484A4B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Yhteydessä asiakkaaseen ja sopii mahdollisen kotikäynnin</a:t>
            </a:r>
          </a:p>
        </p:txBody>
      </p:sp>
      <p:sp>
        <p:nvSpPr>
          <p:cNvPr id="234" name="Rectangle 80">
            <a:extLst>
              <a:ext uri="{FF2B5EF4-FFF2-40B4-BE49-F238E27FC236}">
                <a16:creationId xmlns:a16="http://schemas.microsoft.com/office/drawing/2014/main" id="{08CC30F2-0C5D-EA58-E3E5-D218F428F9E0}"/>
              </a:ext>
            </a:extLst>
          </p:cNvPr>
          <p:cNvSpPr/>
          <p:nvPr/>
        </p:nvSpPr>
        <p:spPr>
          <a:xfrm>
            <a:off x="10098159" y="3023929"/>
            <a:ext cx="1679403" cy="770746"/>
          </a:xfrm>
          <a:prstGeom prst="rect">
            <a:avLst/>
          </a:prstGeom>
          <a:solidFill>
            <a:srgbClr val="F4BFE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fi-FI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4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srgbClr val="484A4B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Kotikäynti yhdessä mahdollisten yhteistyötahojen kanssa. </a:t>
            </a:r>
          </a:p>
        </p:txBody>
      </p:sp>
      <p:sp>
        <p:nvSpPr>
          <p:cNvPr id="238" name="Rectangle 80">
            <a:extLst>
              <a:ext uri="{FF2B5EF4-FFF2-40B4-BE49-F238E27FC236}">
                <a16:creationId xmlns:a16="http://schemas.microsoft.com/office/drawing/2014/main" id="{A0761084-1DF7-7408-0111-075DE95DCB0B}"/>
              </a:ext>
            </a:extLst>
          </p:cNvPr>
          <p:cNvSpPr/>
          <p:nvPr/>
        </p:nvSpPr>
        <p:spPr>
          <a:xfrm>
            <a:off x="1689788" y="3982363"/>
            <a:ext cx="1186376" cy="668588"/>
          </a:xfrm>
          <a:prstGeom prst="rect">
            <a:avLst/>
          </a:prstGeom>
          <a:solidFill>
            <a:srgbClr val="F4BFE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fi-FI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4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srgbClr val="484A4B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Selvitystyössä asia jää vireillepanoasteelle</a:t>
            </a:r>
          </a:p>
        </p:txBody>
      </p:sp>
      <p:sp>
        <p:nvSpPr>
          <p:cNvPr id="239" name="Rectangle 80">
            <a:extLst>
              <a:ext uri="{FF2B5EF4-FFF2-40B4-BE49-F238E27FC236}">
                <a16:creationId xmlns:a16="http://schemas.microsoft.com/office/drawing/2014/main" id="{FC44C4CF-972B-CB40-427F-C3912A4196E7}"/>
              </a:ext>
            </a:extLst>
          </p:cNvPr>
          <p:cNvSpPr/>
          <p:nvPr/>
        </p:nvSpPr>
        <p:spPr>
          <a:xfrm>
            <a:off x="1689788" y="4665264"/>
            <a:ext cx="1177802" cy="502541"/>
          </a:xfrm>
          <a:prstGeom prst="rect">
            <a:avLst/>
          </a:prstGeom>
          <a:solidFill>
            <a:srgbClr val="F4BFE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fi-FI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4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srgbClr val="484A4B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Selvitystyössä tarve laajalle palvelutarpeenarviolle</a:t>
            </a:r>
          </a:p>
        </p:txBody>
      </p:sp>
      <p:sp>
        <p:nvSpPr>
          <p:cNvPr id="242" name="Rectangle 80">
            <a:extLst>
              <a:ext uri="{FF2B5EF4-FFF2-40B4-BE49-F238E27FC236}">
                <a16:creationId xmlns:a16="http://schemas.microsoft.com/office/drawing/2014/main" id="{C862BB77-80CB-4D86-590C-FD68A18106A5}"/>
              </a:ext>
            </a:extLst>
          </p:cNvPr>
          <p:cNvSpPr/>
          <p:nvPr/>
        </p:nvSpPr>
        <p:spPr>
          <a:xfrm>
            <a:off x="5557999" y="3972542"/>
            <a:ext cx="1141897" cy="606870"/>
          </a:xfrm>
          <a:prstGeom prst="rect">
            <a:avLst/>
          </a:prstGeom>
          <a:solidFill>
            <a:srgbClr val="F4BFE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fi-FI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4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srgbClr val="484A4B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Laajaa palvelutarvearviota ei aloiteta </a:t>
            </a:r>
          </a:p>
        </p:txBody>
      </p:sp>
      <p:sp>
        <p:nvSpPr>
          <p:cNvPr id="243" name="Rectangle 80">
            <a:extLst>
              <a:ext uri="{FF2B5EF4-FFF2-40B4-BE49-F238E27FC236}">
                <a16:creationId xmlns:a16="http://schemas.microsoft.com/office/drawing/2014/main" id="{6DBFC46E-D41E-AD37-D103-C469638F2A96}"/>
              </a:ext>
            </a:extLst>
          </p:cNvPr>
          <p:cNvSpPr/>
          <p:nvPr/>
        </p:nvSpPr>
        <p:spPr>
          <a:xfrm>
            <a:off x="3433783" y="3982363"/>
            <a:ext cx="1660173" cy="553277"/>
          </a:xfrm>
          <a:prstGeom prst="rect">
            <a:avLst/>
          </a:prstGeom>
          <a:solidFill>
            <a:srgbClr val="F4BFE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fi-FI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4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srgbClr val="484A4B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Selvittelyssä vain yksittäisiä tai muutamia asioita/ Asiakas kieltäytyy laajasta palvelutarvearviosta</a:t>
            </a:r>
          </a:p>
        </p:txBody>
      </p:sp>
      <p:sp>
        <p:nvSpPr>
          <p:cNvPr id="244" name="Rectangle 80">
            <a:extLst>
              <a:ext uri="{FF2B5EF4-FFF2-40B4-BE49-F238E27FC236}">
                <a16:creationId xmlns:a16="http://schemas.microsoft.com/office/drawing/2014/main" id="{D8289E1A-2EFC-AE1E-7819-8338DBE505E5}"/>
              </a:ext>
            </a:extLst>
          </p:cNvPr>
          <p:cNvSpPr/>
          <p:nvPr/>
        </p:nvSpPr>
        <p:spPr>
          <a:xfrm>
            <a:off x="3433783" y="4640698"/>
            <a:ext cx="1660174" cy="498241"/>
          </a:xfrm>
          <a:prstGeom prst="rect">
            <a:avLst/>
          </a:prstGeom>
          <a:solidFill>
            <a:srgbClr val="F4BFE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fi-FI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4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srgbClr val="484A4B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Tehdään yhdessä asiakkaan kanssa laaja palvelutarvearvio</a:t>
            </a:r>
          </a:p>
        </p:txBody>
      </p:sp>
      <p:sp>
        <p:nvSpPr>
          <p:cNvPr id="245" name="Rectangle 80">
            <a:extLst>
              <a:ext uri="{FF2B5EF4-FFF2-40B4-BE49-F238E27FC236}">
                <a16:creationId xmlns:a16="http://schemas.microsoft.com/office/drawing/2014/main" id="{83454788-2367-C763-EB9B-0E22ABBF2C2A}"/>
              </a:ext>
            </a:extLst>
          </p:cNvPr>
          <p:cNvSpPr/>
          <p:nvPr/>
        </p:nvSpPr>
        <p:spPr>
          <a:xfrm>
            <a:off x="1699204" y="5431134"/>
            <a:ext cx="1176960" cy="739816"/>
          </a:xfrm>
          <a:prstGeom prst="rect">
            <a:avLst/>
          </a:prstGeom>
          <a:solidFill>
            <a:srgbClr val="F4BFE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fi-FI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4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srgbClr val="484A4B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Nimetään omatyöntekijä.</a:t>
            </a:r>
          </a:p>
        </p:txBody>
      </p:sp>
      <p:sp>
        <p:nvSpPr>
          <p:cNvPr id="249" name="Rectangle 80">
            <a:extLst>
              <a:ext uri="{FF2B5EF4-FFF2-40B4-BE49-F238E27FC236}">
                <a16:creationId xmlns:a16="http://schemas.microsoft.com/office/drawing/2014/main" id="{0E61A1E9-DD57-3AF1-2572-8A41D66A8E60}"/>
              </a:ext>
            </a:extLst>
          </p:cNvPr>
          <p:cNvSpPr/>
          <p:nvPr/>
        </p:nvSpPr>
        <p:spPr>
          <a:xfrm>
            <a:off x="3412193" y="5430206"/>
            <a:ext cx="1658393" cy="749210"/>
          </a:xfrm>
          <a:prstGeom prst="rect">
            <a:avLst/>
          </a:prstGeom>
          <a:solidFill>
            <a:srgbClr val="F4BFE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fi-FI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4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srgbClr val="484A4B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Asiakkuus alkaa.</a:t>
            </a:r>
          </a:p>
        </p:txBody>
      </p:sp>
      <p:sp>
        <p:nvSpPr>
          <p:cNvPr id="250" name="Rectangle 80">
            <a:extLst>
              <a:ext uri="{FF2B5EF4-FFF2-40B4-BE49-F238E27FC236}">
                <a16:creationId xmlns:a16="http://schemas.microsoft.com/office/drawing/2014/main" id="{90B3BEFB-BFB4-C29E-56C6-3F6AFF81B225}"/>
              </a:ext>
            </a:extLst>
          </p:cNvPr>
          <p:cNvSpPr/>
          <p:nvPr/>
        </p:nvSpPr>
        <p:spPr>
          <a:xfrm>
            <a:off x="5657505" y="5305254"/>
            <a:ext cx="1166141" cy="874162"/>
          </a:xfrm>
          <a:prstGeom prst="rect">
            <a:avLst/>
          </a:prstGeom>
          <a:solidFill>
            <a:srgbClr val="F4BFE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fi-FI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4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srgbClr val="484A4B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Laaditaan asiakassuunnitelma, tarvittaessa monialaisessa verkostotyössä.</a:t>
            </a:r>
          </a:p>
        </p:txBody>
      </p:sp>
      <p:sp>
        <p:nvSpPr>
          <p:cNvPr id="251" name="Rectangle 80">
            <a:extLst>
              <a:ext uri="{FF2B5EF4-FFF2-40B4-BE49-F238E27FC236}">
                <a16:creationId xmlns:a16="http://schemas.microsoft.com/office/drawing/2014/main" id="{2A36A94A-F7EC-572D-68D4-2F11392D8AF1}"/>
              </a:ext>
            </a:extLst>
          </p:cNvPr>
          <p:cNvSpPr/>
          <p:nvPr/>
        </p:nvSpPr>
        <p:spPr>
          <a:xfrm>
            <a:off x="7254027" y="5329000"/>
            <a:ext cx="1443545" cy="850415"/>
          </a:xfrm>
          <a:prstGeom prst="rect">
            <a:avLst/>
          </a:prstGeom>
          <a:solidFill>
            <a:srgbClr val="F4BFE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fi-FI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4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srgbClr val="484A4B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Arvioi asian kehittymistä; muuttuvatko tavoitteet/ toimintatavat. Varmistaa asioiden hoitumisen.</a:t>
            </a:r>
          </a:p>
        </p:txBody>
      </p:sp>
      <p:sp>
        <p:nvSpPr>
          <p:cNvPr id="254" name="Rectangle 80">
            <a:extLst>
              <a:ext uri="{FF2B5EF4-FFF2-40B4-BE49-F238E27FC236}">
                <a16:creationId xmlns:a16="http://schemas.microsoft.com/office/drawing/2014/main" id="{C5266BFA-5CC8-615A-D722-2B31E5F5BF2A}"/>
              </a:ext>
            </a:extLst>
          </p:cNvPr>
          <p:cNvSpPr/>
          <p:nvPr/>
        </p:nvSpPr>
        <p:spPr>
          <a:xfrm>
            <a:off x="9178841" y="5349431"/>
            <a:ext cx="1038797" cy="829975"/>
          </a:xfrm>
          <a:prstGeom prst="rect">
            <a:avLst/>
          </a:prstGeom>
          <a:solidFill>
            <a:srgbClr val="F4BFE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fi-FI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4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srgbClr val="484A4B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Tilanteen kannattelua. Asiakkuus voi jatkua vuosia.</a:t>
            </a:r>
          </a:p>
        </p:txBody>
      </p:sp>
      <p:cxnSp>
        <p:nvCxnSpPr>
          <p:cNvPr id="320" name="Suora nuoliyhdysviiva 319">
            <a:extLst>
              <a:ext uri="{FF2B5EF4-FFF2-40B4-BE49-F238E27FC236}">
                <a16:creationId xmlns:a16="http://schemas.microsoft.com/office/drawing/2014/main" id="{3C44C699-721B-949C-3F75-D11804F61147}"/>
              </a:ext>
            </a:extLst>
          </p:cNvPr>
          <p:cNvCxnSpPr>
            <a:cxnSpLocks/>
          </p:cNvCxnSpPr>
          <p:nvPr/>
        </p:nvCxnSpPr>
        <p:spPr>
          <a:xfrm flipH="1">
            <a:off x="2234115" y="3821184"/>
            <a:ext cx="1288" cy="219577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7" name="Suora nuoliyhdysviiva 326">
            <a:extLst>
              <a:ext uri="{FF2B5EF4-FFF2-40B4-BE49-F238E27FC236}">
                <a16:creationId xmlns:a16="http://schemas.microsoft.com/office/drawing/2014/main" id="{62DE45A3-9AA5-C319-1E60-714853C8B996}"/>
              </a:ext>
            </a:extLst>
          </p:cNvPr>
          <p:cNvCxnSpPr>
            <a:cxnSpLocks/>
          </p:cNvCxnSpPr>
          <p:nvPr/>
        </p:nvCxnSpPr>
        <p:spPr>
          <a:xfrm>
            <a:off x="2264581" y="5226191"/>
            <a:ext cx="0" cy="204015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8" name="Suora nuoliyhdysviiva 327">
            <a:extLst>
              <a:ext uri="{FF2B5EF4-FFF2-40B4-BE49-F238E27FC236}">
                <a16:creationId xmlns:a16="http://schemas.microsoft.com/office/drawing/2014/main" id="{BA2F92BC-A394-4222-2A5D-C45B0CCD68AC}"/>
              </a:ext>
            </a:extLst>
          </p:cNvPr>
          <p:cNvCxnSpPr>
            <a:cxnSpLocks/>
          </p:cNvCxnSpPr>
          <p:nvPr/>
        </p:nvCxnSpPr>
        <p:spPr>
          <a:xfrm>
            <a:off x="2980857" y="2342642"/>
            <a:ext cx="338424" cy="0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1" name="Suora nuoliyhdysviiva 330">
            <a:extLst>
              <a:ext uri="{FF2B5EF4-FFF2-40B4-BE49-F238E27FC236}">
                <a16:creationId xmlns:a16="http://schemas.microsoft.com/office/drawing/2014/main" id="{D89F79A0-867A-B05C-5FBB-228FD0B0058C}"/>
              </a:ext>
            </a:extLst>
          </p:cNvPr>
          <p:cNvCxnSpPr>
            <a:cxnSpLocks/>
          </p:cNvCxnSpPr>
          <p:nvPr/>
        </p:nvCxnSpPr>
        <p:spPr>
          <a:xfrm>
            <a:off x="4651073" y="2379529"/>
            <a:ext cx="328912" cy="0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4" name="Suora nuoliyhdysviiva 333">
            <a:extLst>
              <a:ext uri="{FF2B5EF4-FFF2-40B4-BE49-F238E27FC236}">
                <a16:creationId xmlns:a16="http://schemas.microsoft.com/office/drawing/2014/main" id="{30589586-F8E2-9109-30CF-A0E1461A1D9D}"/>
              </a:ext>
            </a:extLst>
          </p:cNvPr>
          <p:cNvCxnSpPr>
            <a:cxnSpLocks/>
          </p:cNvCxnSpPr>
          <p:nvPr/>
        </p:nvCxnSpPr>
        <p:spPr>
          <a:xfrm>
            <a:off x="2980857" y="3424298"/>
            <a:ext cx="394724" cy="0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7" name="Suora nuoliyhdysviiva 336">
            <a:extLst>
              <a:ext uri="{FF2B5EF4-FFF2-40B4-BE49-F238E27FC236}">
                <a16:creationId xmlns:a16="http://schemas.microsoft.com/office/drawing/2014/main" id="{22E3FC35-2A53-FFA6-755C-A4CB4E20B0C7}"/>
              </a:ext>
            </a:extLst>
          </p:cNvPr>
          <p:cNvCxnSpPr>
            <a:cxnSpLocks/>
          </p:cNvCxnSpPr>
          <p:nvPr/>
        </p:nvCxnSpPr>
        <p:spPr>
          <a:xfrm>
            <a:off x="4589441" y="3424298"/>
            <a:ext cx="412709" cy="6865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2" name="Suora nuoliyhdysviiva 341">
            <a:extLst>
              <a:ext uri="{FF2B5EF4-FFF2-40B4-BE49-F238E27FC236}">
                <a16:creationId xmlns:a16="http://schemas.microsoft.com/office/drawing/2014/main" id="{7C2A225F-E94A-38F2-22D9-3982DDA59A4C}"/>
              </a:ext>
            </a:extLst>
          </p:cNvPr>
          <p:cNvCxnSpPr>
            <a:cxnSpLocks/>
          </p:cNvCxnSpPr>
          <p:nvPr/>
        </p:nvCxnSpPr>
        <p:spPr>
          <a:xfrm>
            <a:off x="8094702" y="3427730"/>
            <a:ext cx="311053" cy="0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5" name="Suora nuoliyhdysviiva 344">
            <a:extLst>
              <a:ext uri="{FF2B5EF4-FFF2-40B4-BE49-F238E27FC236}">
                <a16:creationId xmlns:a16="http://schemas.microsoft.com/office/drawing/2014/main" id="{6FA76C43-9C4B-03E4-73F1-19DCCF2CAA66}"/>
              </a:ext>
            </a:extLst>
          </p:cNvPr>
          <p:cNvCxnSpPr>
            <a:cxnSpLocks/>
          </p:cNvCxnSpPr>
          <p:nvPr/>
        </p:nvCxnSpPr>
        <p:spPr>
          <a:xfrm>
            <a:off x="9577056" y="3400346"/>
            <a:ext cx="382369" cy="0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8" name="Suora nuoliyhdysviiva 347">
            <a:extLst>
              <a:ext uri="{FF2B5EF4-FFF2-40B4-BE49-F238E27FC236}">
                <a16:creationId xmlns:a16="http://schemas.microsoft.com/office/drawing/2014/main" id="{A883BB06-7BA0-CBC2-ECE9-79DAEA7DFF04}"/>
              </a:ext>
            </a:extLst>
          </p:cNvPr>
          <p:cNvCxnSpPr>
            <a:cxnSpLocks/>
          </p:cNvCxnSpPr>
          <p:nvPr/>
        </p:nvCxnSpPr>
        <p:spPr>
          <a:xfrm>
            <a:off x="2980857" y="4329227"/>
            <a:ext cx="343854" cy="0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1" name="Suora nuoliyhdysviiva 350">
            <a:extLst>
              <a:ext uri="{FF2B5EF4-FFF2-40B4-BE49-F238E27FC236}">
                <a16:creationId xmlns:a16="http://schemas.microsoft.com/office/drawing/2014/main" id="{51FF1CFB-D6A8-AD99-9FD3-6F097DB4F2C2}"/>
              </a:ext>
            </a:extLst>
          </p:cNvPr>
          <p:cNvCxnSpPr>
            <a:cxnSpLocks/>
          </p:cNvCxnSpPr>
          <p:nvPr/>
        </p:nvCxnSpPr>
        <p:spPr>
          <a:xfrm>
            <a:off x="2980857" y="4907324"/>
            <a:ext cx="343854" cy="0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uora nuoliyhdysviiva 129">
            <a:extLst>
              <a:ext uri="{FF2B5EF4-FFF2-40B4-BE49-F238E27FC236}">
                <a16:creationId xmlns:a16="http://schemas.microsoft.com/office/drawing/2014/main" id="{41CDF40F-F04A-9966-70C6-BADD53F66331}"/>
              </a:ext>
            </a:extLst>
          </p:cNvPr>
          <p:cNvCxnSpPr>
            <a:cxnSpLocks/>
          </p:cNvCxnSpPr>
          <p:nvPr/>
        </p:nvCxnSpPr>
        <p:spPr>
          <a:xfrm>
            <a:off x="5157572" y="4248372"/>
            <a:ext cx="297328" cy="2423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uora nuoliyhdysviiva 131">
            <a:extLst>
              <a:ext uri="{FF2B5EF4-FFF2-40B4-BE49-F238E27FC236}">
                <a16:creationId xmlns:a16="http://schemas.microsoft.com/office/drawing/2014/main" id="{466C4402-3B37-B669-5A72-296A2DD6FACC}"/>
              </a:ext>
            </a:extLst>
          </p:cNvPr>
          <p:cNvCxnSpPr>
            <a:cxnSpLocks/>
          </p:cNvCxnSpPr>
          <p:nvPr/>
        </p:nvCxnSpPr>
        <p:spPr>
          <a:xfrm>
            <a:off x="2964189" y="5875046"/>
            <a:ext cx="385207" cy="0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Suora nuoliyhdysviiva 138">
            <a:extLst>
              <a:ext uri="{FF2B5EF4-FFF2-40B4-BE49-F238E27FC236}">
                <a16:creationId xmlns:a16="http://schemas.microsoft.com/office/drawing/2014/main" id="{7A5B937C-9B68-025D-0502-31B133B26C43}"/>
              </a:ext>
            </a:extLst>
          </p:cNvPr>
          <p:cNvCxnSpPr>
            <a:cxnSpLocks/>
          </p:cNvCxnSpPr>
          <p:nvPr/>
        </p:nvCxnSpPr>
        <p:spPr>
          <a:xfrm>
            <a:off x="5165095" y="5869756"/>
            <a:ext cx="392905" cy="0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Suora nuoliyhdysviiva 141">
            <a:extLst>
              <a:ext uri="{FF2B5EF4-FFF2-40B4-BE49-F238E27FC236}">
                <a16:creationId xmlns:a16="http://schemas.microsoft.com/office/drawing/2014/main" id="{B2ADA8AD-C6D8-A813-18F6-F8F0BD4BC75C}"/>
              </a:ext>
            </a:extLst>
          </p:cNvPr>
          <p:cNvCxnSpPr>
            <a:cxnSpLocks/>
          </p:cNvCxnSpPr>
          <p:nvPr/>
        </p:nvCxnSpPr>
        <p:spPr>
          <a:xfrm>
            <a:off x="6859518" y="5843318"/>
            <a:ext cx="278500" cy="0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Suora nuoliyhdysviiva 144">
            <a:extLst>
              <a:ext uri="{FF2B5EF4-FFF2-40B4-BE49-F238E27FC236}">
                <a16:creationId xmlns:a16="http://schemas.microsoft.com/office/drawing/2014/main" id="{4B3A32F1-4529-3E8B-7126-EEE4B2D4B274}"/>
              </a:ext>
            </a:extLst>
          </p:cNvPr>
          <p:cNvCxnSpPr>
            <a:cxnSpLocks/>
          </p:cNvCxnSpPr>
          <p:nvPr/>
        </p:nvCxnSpPr>
        <p:spPr>
          <a:xfrm>
            <a:off x="8777895" y="5796974"/>
            <a:ext cx="292248" cy="0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Yhdistin: Kulma 14">
            <a:extLst>
              <a:ext uri="{FF2B5EF4-FFF2-40B4-BE49-F238E27FC236}">
                <a16:creationId xmlns:a16="http://schemas.microsoft.com/office/drawing/2014/main" id="{045D32A6-C81F-2A85-A05D-EAA7109E239A}"/>
              </a:ext>
            </a:extLst>
          </p:cNvPr>
          <p:cNvCxnSpPr>
            <a:cxnSpLocks/>
          </p:cNvCxnSpPr>
          <p:nvPr/>
        </p:nvCxnSpPr>
        <p:spPr>
          <a:xfrm rot="10800000" flipV="1">
            <a:off x="1691408" y="3399829"/>
            <a:ext cx="1" cy="1537373"/>
          </a:xfrm>
          <a:prstGeom prst="bentConnector3">
            <a:avLst>
              <a:gd name="adj1" fmla="val 22860100000"/>
            </a:avLst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uora nuoliyhdysviiva 1">
            <a:extLst>
              <a:ext uri="{FF2B5EF4-FFF2-40B4-BE49-F238E27FC236}">
                <a16:creationId xmlns:a16="http://schemas.microsoft.com/office/drawing/2014/main" id="{3CE26002-A688-C01F-A117-1D2456E24B14}"/>
              </a:ext>
            </a:extLst>
          </p:cNvPr>
          <p:cNvCxnSpPr>
            <a:cxnSpLocks/>
          </p:cNvCxnSpPr>
          <p:nvPr/>
        </p:nvCxnSpPr>
        <p:spPr>
          <a:xfrm>
            <a:off x="5165095" y="4845680"/>
            <a:ext cx="297328" cy="2423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127">
            <a:extLst>
              <a:ext uri="{FF2B5EF4-FFF2-40B4-BE49-F238E27FC236}">
                <a16:creationId xmlns:a16="http://schemas.microsoft.com/office/drawing/2014/main" id="{9FBC946C-0685-F701-8C0A-B68F6F28182E}"/>
              </a:ext>
            </a:extLst>
          </p:cNvPr>
          <p:cNvSpPr/>
          <p:nvPr/>
        </p:nvSpPr>
        <p:spPr>
          <a:xfrm>
            <a:off x="5558000" y="4640698"/>
            <a:ext cx="3287629" cy="480738"/>
          </a:xfrm>
          <a:prstGeom prst="rect">
            <a:avLst/>
          </a:prstGeom>
          <a:solidFill>
            <a:srgbClr val="F4BFEC"/>
          </a:solidFill>
          <a:ln w="12700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fi-FI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4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srgbClr val="484A4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vaitaan, ettei asiakkuudelle tarvetta/ Havaitaan tarve mutta asiakas kieltäytyy palveluista/ Aloitetaan asiakkuus</a:t>
            </a:r>
            <a:endParaRPr kumimoji="0" lang="fi-FI" sz="10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127">
            <a:extLst>
              <a:ext uri="{FF2B5EF4-FFF2-40B4-BE49-F238E27FC236}">
                <a16:creationId xmlns:a16="http://schemas.microsoft.com/office/drawing/2014/main" id="{C874DA65-7A2C-DC1C-6FF9-F6F2BE07FECF}"/>
              </a:ext>
            </a:extLst>
          </p:cNvPr>
          <p:cNvSpPr/>
          <p:nvPr/>
        </p:nvSpPr>
        <p:spPr>
          <a:xfrm>
            <a:off x="7062564" y="3982363"/>
            <a:ext cx="1187665" cy="62120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54000" rIns="0" bIns="54000" rtlCol="0" anchor="ctr" anchorCtr="0"/>
          <a:lstStyle>
            <a:defPPr>
              <a:defRPr lang="fi-FI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4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srgbClr val="484A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oi saada kuitenkin muita sote-palveluita</a:t>
            </a:r>
            <a:endParaRPr kumimoji="0" lang="fi-FI" sz="10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7" name="Suora nuoliyhdysviiva 6">
            <a:extLst>
              <a:ext uri="{FF2B5EF4-FFF2-40B4-BE49-F238E27FC236}">
                <a16:creationId xmlns:a16="http://schemas.microsoft.com/office/drawing/2014/main" id="{0D22089F-0816-385C-0AF5-E68405C2BF35}"/>
              </a:ext>
            </a:extLst>
          </p:cNvPr>
          <p:cNvCxnSpPr>
            <a:cxnSpLocks/>
          </p:cNvCxnSpPr>
          <p:nvPr/>
        </p:nvCxnSpPr>
        <p:spPr>
          <a:xfrm>
            <a:off x="6699897" y="4262406"/>
            <a:ext cx="297328" cy="2423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80">
            <a:extLst>
              <a:ext uri="{FF2B5EF4-FFF2-40B4-BE49-F238E27FC236}">
                <a16:creationId xmlns:a16="http://schemas.microsoft.com/office/drawing/2014/main" id="{C7588BDC-F727-E66C-2B08-EC4C671EEAEF}"/>
              </a:ext>
            </a:extLst>
          </p:cNvPr>
          <p:cNvSpPr/>
          <p:nvPr/>
        </p:nvSpPr>
        <p:spPr>
          <a:xfrm>
            <a:off x="10738765" y="5328198"/>
            <a:ext cx="1038797" cy="829974"/>
          </a:xfrm>
          <a:prstGeom prst="rect">
            <a:avLst/>
          </a:prstGeom>
          <a:solidFill>
            <a:srgbClr val="F4BFE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fi-FI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4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srgbClr val="484A4B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Asian käsittely päättyy</a:t>
            </a:r>
          </a:p>
        </p:txBody>
      </p:sp>
      <p:cxnSp>
        <p:nvCxnSpPr>
          <p:cNvPr id="11" name="Suora nuoliyhdysviiva 10">
            <a:extLst>
              <a:ext uri="{FF2B5EF4-FFF2-40B4-BE49-F238E27FC236}">
                <a16:creationId xmlns:a16="http://schemas.microsoft.com/office/drawing/2014/main" id="{C5DBB990-CB87-5D6B-0B73-8A99E247C144}"/>
              </a:ext>
            </a:extLst>
          </p:cNvPr>
          <p:cNvCxnSpPr>
            <a:cxnSpLocks/>
          </p:cNvCxnSpPr>
          <p:nvPr/>
        </p:nvCxnSpPr>
        <p:spPr>
          <a:xfrm>
            <a:off x="10344531" y="5813741"/>
            <a:ext cx="292248" cy="0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127">
            <a:extLst>
              <a:ext uri="{FF2B5EF4-FFF2-40B4-BE49-F238E27FC236}">
                <a16:creationId xmlns:a16="http://schemas.microsoft.com/office/drawing/2014/main" id="{7F2912FD-A974-FCBB-0AC8-9DD577CA0FE2}"/>
              </a:ext>
            </a:extLst>
          </p:cNvPr>
          <p:cNvSpPr/>
          <p:nvPr/>
        </p:nvSpPr>
        <p:spPr>
          <a:xfrm>
            <a:off x="9365399" y="4631598"/>
            <a:ext cx="2412163" cy="480738"/>
          </a:xfrm>
          <a:prstGeom prst="rect">
            <a:avLst/>
          </a:prstGeom>
          <a:solidFill>
            <a:srgbClr val="F4BFEC"/>
          </a:solidFill>
          <a:ln w="12700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>
            <a:defPPr>
              <a:defRPr lang="fi-FI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4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srgbClr val="484A4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os havaitaan tarve mutta asiakas kieltäytyy -&gt; tilanteen kannattelua ja yhteyshenkilönä pysymistä.</a:t>
            </a:r>
            <a:endParaRPr kumimoji="0" lang="fi-FI" sz="10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9" name="Suora nuoliyhdysviiva 8">
            <a:extLst>
              <a:ext uri="{FF2B5EF4-FFF2-40B4-BE49-F238E27FC236}">
                <a16:creationId xmlns:a16="http://schemas.microsoft.com/office/drawing/2014/main" id="{32730BC4-5AD1-0A78-D7F6-2800A129F5EE}"/>
              </a:ext>
            </a:extLst>
          </p:cNvPr>
          <p:cNvCxnSpPr>
            <a:cxnSpLocks/>
          </p:cNvCxnSpPr>
          <p:nvPr/>
        </p:nvCxnSpPr>
        <p:spPr>
          <a:xfrm>
            <a:off x="8878958" y="4845680"/>
            <a:ext cx="382369" cy="0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08BEB46D-D4FB-4F25-11FA-99A0590EB6E7}"/>
              </a:ext>
            </a:extLst>
          </p:cNvPr>
          <p:cNvSpPr txBox="1"/>
          <p:nvPr/>
        </p:nvSpPr>
        <p:spPr>
          <a:xfrm>
            <a:off x="8064499" y="6455832"/>
            <a:ext cx="3534833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Lähde: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Gerontologisen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sosiaalityön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tiimi</a:t>
            </a:r>
            <a:endParaRPr kumimoji="0" lang="en-US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59490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187F516D-847D-BC86-915B-68A7267532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188" y="216604"/>
            <a:ext cx="11228387" cy="756520"/>
          </a:xfrm>
        </p:spPr>
        <p:txBody>
          <a:bodyPr/>
          <a:lstStyle/>
          <a:p>
            <a:r>
              <a:rPr lang="fi-FI"/>
              <a:t>Erityisen tuen tarpeita	</a:t>
            </a:r>
            <a:endParaRPr lang="fi-FI">
              <a:solidFill>
                <a:srgbClr val="002060"/>
              </a:solidFill>
              <a:cs typeface="Arial"/>
            </a:endParaRPr>
          </a:p>
        </p:txBody>
      </p:sp>
      <p:graphicFrame>
        <p:nvGraphicFramePr>
          <p:cNvPr id="7" name="Sisällön paikkamerkki 6">
            <a:extLst>
              <a:ext uri="{FF2B5EF4-FFF2-40B4-BE49-F238E27FC236}">
                <a16:creationId xmlns:a16="http://schemas.microsoft.com/office/drawing/2014/main" id="{AA4549F3-D1B4-34CD-A3EB-411B163C108B}"/>
              </a:ext>
            </a:extLst>
          </p:cNvPr>
          <p:cNvGraphicFramePr>
            <a:graphicFrameLocks noGrp="1"/>
          </p:cNvGraphicFramePr>
          <p:nvPr>
            <p:ph sz="quarter" idx="13"/>
          </p:nvPr>
        </p:nvGraphicFramePr>
        <p:xfrm>
          <a:off x="474662" y="3020437"/>
          <a:ext cx="11233150" cy="31370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kstiruutu 2">
            <a:extLst>
              <a:ext uri="{FF2B5EF4-FFF2-40B4-BE49-F238E27FC236}">
                <a16:creationId xmlns:a16="http://schemas.microsoft.com/office/drawing/2014/main" id="{45511AB9-FC5C-686A-0C5F-C404A2C534CA}"/>
              </a:ext>
            </a:extLst>
          </p:cNvPr>
          <p:cNvSpPr txBox="1"/>
          <p:nvPr/>
        </p:nvSpPr>
        <p:spPr>
          <a:xfrm>
            <a:off x="484188" y="896779"/>
            <a:ext cx="11293955" cy="212365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15900" marR="0" lvl="0" indent="-215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2146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arkoitetaan sosiaalihuoltolain 3 §:n mukaan henkilöä, ”jolla on erityisiä </a:t>
            </a:r>
            <a:r>
              <a:rPr kumimoji="0" lang="fi-FI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aikeuksia hakea ja saada tarvitsemiaan </a:t>
            </a:r>
            <a:r>
              <a:rPr kumimoji="0" lang="fi-FI" sz="14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siaali</a:t>
            </a:r>
            <a:r>
              <a:rPr kumimoji="0" lang="fi-FI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-ja terveyspalveluja </a:t>
            </a:r>
            <a:r>
              <a:rPr kumimoji="0" lang="fi-FI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gnitiivisen tai psyykkisen vamman tai sairauden, päihteiden ongelmakäytön, </a:t>
            </a:r>
            <a:r>
              <a:rPr kumimoji="0" lang="fi-FI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sean yhtäaikaisen tuen tarpeen </a:t>
            </a:r>
            <a:r>
              <a:rPr kumimoji="0" lang="fi-FI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ai muun vastaavan syyn vuoksi </a:t>
            </a:r>
            <a:r>
              <a:rPr kumimoji="0" lang="fi-FI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a </a:t>
            </a:r>
            <a:r>
              <a:rPr kumimoji="0" lang="fi-FI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onka tuen tarve </a:t>
            </a:r>
            <a:r>
              <a:rPr kumimoji="0" lang="fi-FI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i liity korkeaan ikään siten kuin vanhuspalvelulain 3§:</a:t>
            </a:r>
            <a:r>
              <a:rPr kumimoji="0" lang="fi-FI" sz="14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sä</a:t>
            </a:r>
            <a:r>
              <a:rPr kumimoji="0" lang="fi-FI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äädetään”. 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15900" marR="0" lvl="0" indent="-215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2146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anhuspalvelulaki 3§:</a:t>
            </a:r>
            <a:r>
              <a:rPr kumimoji="0" lang="fi-FI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sä</a:t>
            </a:r>
            <a:r>
              <a:rPr kumimoji="0" lang="fi-FI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arkoitetaan 1) Ikääntyneellä väestöllä vanhuseläkkeeseen oikeuttavassa iässä olevaa henkilöä. 2) </a:t>
            </a:r>
            <a:r>
              <a:rPr kumimoji="0" lang="fi-FI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äkkäällä </a:t>
            </a:r>
            <a:r>
              <a:rPr kumimoji="0" lang="fi-FI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nkilöllä henkilöä, jonka fyysinen, kognitiivinen, psyykkinen tai sosiaalinen toimintakyky on </a:t>
            </a:r>
            <a:r>
              <a:rPr kumimoji="0" lang="fi-FI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ikentynyt korkean iän myötä alkaneiden, lisääntyneiden tai pahentuneiden sairauksien tai vammojen vuoksi taikka korkeaan ikään liittyvän rappeutumisen johdosta.</a:t>
            </a:r>
            <a:endParaRPr kumimoji="0" lang="fi-FI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  <a:p>
            <a:pPr marL="215900" marR="0" lvl="0" indent="-215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2146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rkeaan ikään liittyvä tuen tarve ei yksinään ole sosiaalihuoltolaissa tarkoitettu syy erityisen tuen saamiseen, mutta myös ikääntynyt henkilö voi olla erityistä tukea tarvitseva, mikäli 3 §:n edellytykset täyttyvät (</a:t>
            </a:r>
            <a:r>
              <a:rPr kumimoji="0" lang="fi-FI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HL:n</a:t>
            </a:r>
            <a:r>
              <a:rPr kumimoji="0" lang="fi-FI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oveltamisopas) </a:t>
            </a:r>
            <a:endParaRPr kumimoji="0" lang="fi-FI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22ECFA6-301E-48F1-5465-8E22869A9C7C}"/>
              </a:ext>
            </a:extLst>
          </p:cNvPr>
          <p:cNvSpPr txBox="1"/>
          <p:nvPr/>
        </p:nvSpPr>
        <p:spPr>
          <a:xfrm>
            <a:off x="8180917" y="6371167"/>
            <a:ext cx="3069166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Lähde: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Gerontologisen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sosiaalityön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tiimi</a:t>
            </a:r>
            <a:endParaRPr kumimoji="0" lang="en-US" sz="12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64584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irkanmaan hyvinvointialue_perus">
  <a:themeElements>
    <a:clrScheme name="PHA_2022">
      <a:dk1>
        <a:srgbClr val="000000"/>
      </a:dk1>
      <a:lt1>
        <a:srgbClr val="FFFFFF"/>
      </a:lt1>
      <a:dk2>
        <a:srgbClr val="721465"/>
      </a:dk2>
      <a:lt2>
        <a:srgbClr val="FFDEE6"/>
      </a:lt2>
      <a:accent1>
        <a:srgbClr val="10285E"/>
      </a:accent1>
      <a:accent2>
        <a:srgbClr val="FF8C00"/>
      </a:accent2>
      <a:accent3>
        <a:srgbClr val="F4D11F"/>
      </a:accent3>
      <a:accent4>
        <a:srgbClr val="FF5982"/>
      </a:accent4>
      <a:accent5>
        <a:srgbClr val="9F93D8"/>
      </a:accent5>
      <a:accent6>
        <a:srgbClr val="31A7D7"/>
      </a:accent6>
      <a:hlink>
        <a:srgbClr val="284A96"/>
      </a:hlink>
      <a:folHlink>
        <a:srgbClr val="284A9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Hienovaraisen yhtenäin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irkanmaan_hyvinvointialue_PP-malli.potx" id="{215781E0-82AC-4177-9990-5928CCCFB862}" vid="{84433AC9-32E8-4852-9E10-5A5822690FC3}"/>
    </a:ext>
  </a:extLst>
</a:theme>
</file>

<file path=ppt/theme/theme2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</TotalTime>
  <Words>469</Words>
  <Application>Microsoft Office PowerPoint</Application>
  <PresentationFormat>Laajakuva</PresentationFormat>
  <Paragraphs>51</Paragraphs>
  <Slides>2</Slides>
  <Notes>1</Notes>
  <HiddenSlides>0</HiddenSlides>
  <MMClips>0</MMClips>
  <ScaleCrop>false</ScaleCrop>
  <HeadingPairs>
    <vt:vector size="8" baseType="variant">
      <vt:variant>
        <vt:lpstr>Käytetyt fontit</vt:lpstr>
      </vt:variant>
      <vt:variant>
        <vt:i4>3</vt:i4>
      </vt:variant>
      <vt:variant>
        <vt:lpstr>Teema</vt:lpstr>
      </vt:variant>
      <vt:variant>
        <vt:i4>1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2</vt:i4>
      </vt:variant>
    </vt:vector>
  </HeadingPairs>
  <TitlesOfParts>
    <vt:vector size="7" baseType="lpstr">
      <vt:lpstr>Arial</vt:lpstr>
      <vt:lpstr>Calibri</vt:lpstr>
      <vt:lpstr>Inter SemiBold</vt:lpstr>
      <vt:lpstr>Pirkanmaan hyvinvointialue_perus</vt:lpstr>
      <vt:lpstr>think-cell Slide</vt:lpstr>
      <vt:lpstr> Gerontologisen sosiaalityön asiakkaaksi tulon prosessi                                                                                                  Luonnos</vt:lpstr>
      <vt:lpstr>Erityisen tuen tarpeita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Gerontologisen sosiaalityön asiakkaaksi tulon prosessi                                                                                                  Luonnos</dc:title>
  <dc:creator>Vainionpää Tuija Anneli</dc:creator>
  <cp:lastModifiedBy>Vainionpää Tuija Anneli</cp:lastModifiedBy>
  <cp:revision>1</cp:revision>
  <dcterms:created xsi:type="dcterms:W3CDTF">2023-12-13T10:26:47Z</dcterms:created>
  <dcterms:modified xsi:type="dcterms:W3CDTF">2023-12-13T10:34:02Z</dcterms:modified>
</cp:coreProperties>
</file>